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1041" r:id="rId2"/>
    <p:sldId id="2145706225" r:id="rId3"/>
    <p:sldId id="2145706259" r:id="rId4"/>
    <p:sldId id="2145706275" r:id="rId5"/>
    <p:sldId id="2145706264" r:id="rId6"/>
    <p:sldId id="2145706265" r:id="rId7"/>
    <p:sldId id="2145706263" r:id="rId8"/>
    <p:sldId id="2145706280" r:id="rId9"/>
    <p:sldId id="2145706226" r:id="rId10"/>
    <p:sldId id="2145706261" r:id="rId11"/>
    <p:sldId id="2145706258" r:id="rId12"/>
    <p:sldId id="2145706240" r:id="rId13"/>
    <p:sldId id="263" r:id="rId14"/>
    <p:sldId id="264" r:id="rId15"/>
    <p:sldId id="2145706262" r:id="rId16"/>
    <p:sldId id="2145706246" r:id="rId17"/>
    <p:sldId id="2145706287" r:id="rId18"/>
    <p:sldId id="2145706288" r:id="rId19"/>
    <p:sldId id="2145706289" r:id="rId20"/>
    <p:sldId id="2145706247" r:id="rId21"/>
    <p:sldId id="2145706248" r:id="rId22"/>
    <p:sldId id="2145706282" r:id="rId23"/>
    <p:sldId id="2145706283" r:id="rId24"/>
    <p:sldId id="2145706285" r:id="rId25"/>
    <p:sldId id="2145706234" r:id="rId26"/>
    <p:sldId id="2145706220" r:id="rId27"/>
    <p:sldId id="2145706236" r:id="rId28"/>
    <p:sldId id="26422" r:id="rId29"/>
    <p:sldId id="2145706284" r:id="rId30"/>
    <p:sldId id="2145706266" r:id="rId3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8" dt="2024-07-13T15:47:32.435"/>
    <p1510:client id="{E3161F74-B0AA-40DC-ADA6-35AF10BC3613}" v="35" dt="2024-07-14T07:57:21.0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91695" autoAdjust="0"/>
  </p:normalViewPr>
  <p:slideViewPr>
    <p:cSldViewPr snapToGrid="0">
      <p:cViewPr>
        <p:scale>
          <a:sx n="100" d="100"/>
          <a:sy n="100" d="100"/>
        </p:scale>
        <p:origin x="144" y="162"/>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3161F74-B0AA-40DC-ADA6-35AF10BC3613}"/>
    <pc:docChg chg="undo custSel addSld delSld modSld sldOrd delMainMaster">
      <pc:chgData name="Graf Thomas, INI-NET-VNC-HCS" userId="487bc3e3-9ce7-4cdd-b7b4-8899ea88d289" providerId="ADAL" clId="{E3161F74-B0AA-40DC-ADA6-35AF10BC3613}" dt="2024-07-14T08:03:04.608" v="1663" actId="12"/>
      <pc:docMkLst>
        <pc:docMk/>
      </pc:docMkLst>
      <pc:sldChg chg="modSp mod">
        <pc:chgData name="Graf Thomas, INI-NET-VNC-HCS" userId="487bc3e3-9ce7-4cdd-b7b4-8899ea88d289" providerId="ADAL" clId="{E3161F74-B0AA-40DC-ADA6-35AF10BC3613}" dt="2024-07-14T06:37:45.403" v="66" actId="20577"/>
        <pc:sldMkLst>
          <pc:docMk/>
          <pc:sldMk cId="3578665336" sldId="1041"/>
        </pc:sldMkLst>
        <pc:spChg chg="mod">
          <ac:chgData name="Graf Thomas, INI-NET-VNC-HCS" userId="487bc3e3-9ce7-4cdd-b7b4-8899ea88d289" providerId="ADAL" clId="{E3161F74-B0AA-40DC-ADA6-35AF10BC3613}" dt="2024-07-14T06:37:45.403" v="66" actId="20577"/>
          <ac:spMkLst>
            <pc:docMk/>
            <pc:sldMk cId="3578665336" sldId="1041"/>
            <ac:spMk id="6" creationId="{6CAA0765-1318-4A03-8F91-D3ECC43D8FA7}"/>
          </ac:spMkLst>
        </pc:spChg>
      </pc:sldChg>
      <pc:sldChg chg="add">
        <pc:chgData name="Graf Thomas, INI-NET-VNC-HCS" userId="487bc3e3-9ce7-4cdd-b7b4-8899ea88d289" providerId="ADAL" clId="{E3161F74-B0AA-40DC-ADA6-35AF10BC3613}" dt="2024-07-14T07:16:05.001" v="623"/>
        <pc:sldMkLst>
          <pc:docMk/>
          <pc:sldMk cId="1088069469" sldId="26422"/>
        </pc:sldMkLst>
      </pc:sldChg>
      <pc:sldChg chg="add">
        <pc:chgData name="Graf Thomas, INI-NET-VNC-HCS" userId="487bc3e3-9ce7-4cdd-b7b4-8899ea88d289" providerId="ADAL" clId="{E3161F74-B0AA-40DC-ADA6-35AF10BC3613}" dt="2024-07-14T07:15:42.407" v="622"/>
        <pc:sldMkLst>
          <pc:docMk/>
          <pc:sldMk cId="670772560" sldId="2145706220"/>
        </pc:sldMkLst>
      </pc:sldChg>
      <pc:sldChg chg="addSp delSp modSp mod">
        <pc:chgData name="Graf Thomas, INI-NET-VNC-HCS" userId="487bc3e3-9ce7-4cdd-b7b4-8899ea88d289" providerId="ADAL" clId="{E3161F74-B0AA-40DC-ADA6-35AF10BC3613}" dt="2024-07-14T06:37:21.846" v="65" actId="113"/>
        <pc:sldMkLst>
          <pc:docMk/>
          <pc:sldMk cId="1081037514" sldId="2145706225"/>
        </pc:sldMkLst>
        <pc:spChg chg="mod">
          <ac:chgData name="Graf Thomas, INI-NET-VNC-HCS" userId="487bc3e3-9ce7-4cdd-b7b4-8899ea88d289" providerId="ADAL" clId="{E3161F74-B0AA-40DC-ADA6-35AF10BC3613}" dt="2024-07-14T06:36:00.274" v="9" actId="2711"/>
          <ac:spMkLst>
            <pc:docMk/>
            <pc:sldMk cId="1081037514" sldId="2145706225"/>
            <ac:spMk id="3" creationId="{21A2E246-8977-0C56-8169-DA0A27B49547}"/>
          </ac:spMkLst>
        </pc:spChg>
        <pc:spChg chg="mod">
          <ac:chgData name="Graf Thomas, INI-NET-VNC-HCS" userId="487bc3e3-9ce7-4cdd-b7b4-8899ea88d289" providerId="ADAL" clId="{E3161F74-B0AA-40DC-ADA6-35AF10BC3613}" dt="2024-07-14T06:36:00.274" v="9" actId="2711"/>
          <ac:spMkLst>
            <pc:docMk/>
            <pc:sldMk cId="1081037514" sldId="2145706225"/>
            <ac:spMk id="4" creationId="{A20B2D5A-928F-260A-3CF1-C2C4CAA43CFA}"/>
          </ac:spMkLst>
        </pc:spChg>
        <pc:spChg chg="mod">
          <ac:chgData name="Graf Thomas, INI-NET-VNC-HCS" userId="487bc3e3-9ce7-4cdd-b7b4-8899ea88d289" providerId="ADAL" clId="{E3161F74-B0AA-40DC-ADA6-35AF10BC3613}" dt="2024-07-14T06:37:20.731" v="63" actId="113"/>
          <ac:spMkLst>
            <pc:docMk/>
            <pc:sldMk cId="1081037514" sldId="2145706225"/>
            <ac:spMk id="5" creationId="{66A4E115-1F77-20A8-3DA1-68ED2196E5C6}"/>
          </ac:spMkLst>
        </pc:spChg>
        <pc:spChg chg="mod">
          <ac:chgData name="Graf Thomas, INI-NET-VNC-HCS" userId="487bc3e3-9ce7-4cdd-b7b4-8899ea88d289" providerId="ADAL" clId="{E3161F74-B0AA-40DC-ADA6-35AF10BC3613}" dt="2024-07-14T06:36:00.274" v="9" actId="2711"/>
          <ac:spMkLst>
            <pc:docMk/>
            <pc:sldMk cId="1081037514" sldId="2145706225"/>
            <ac:spMk id="8" creationId="{677D70B8-28D4-9C31-9D94-D3052A1620BA}"/>
          </ac:spMkLst>
        </pc:spChg>
        <pc:spChg chg="mod">
          <ac:chgData name="Graf Thomas, INI-NET-VNC-HCS" userId="487bc3e3-9ce7-4cdd-b7b4-8899ea88d289" providerId="ADAL" clId="{E3161F74-B0AA-40DC-ADA6-35AF10BC3613}" dt="2024-07-14T06:36:00.274" v="9" actId="2711"/>
          <ac:spMkLst>
            <pc:docMk/>
            <pc:sldMk cId="1081037514" sldId="2145706225"/>
            <ac:spMk id="9" creationId="{A7D4BF0B-6AC3-4AA9-E8BD-1253A110E4C1}"/>
          </ac:spMkLst>
        </pc:spChg>
        <pc:spChg chg="mod">
          <ac:chgData name="Graf Thomas, INI-NET-VNC-HCS" userId="487bc3e3-9ce7-4cdd-b7b4-8899ea88d289" providerId="ADAL" clId="{E3161F74-B0AA-40DC-ADA6-35AF10BC3613}" dt="2024-07-14T06:36:00.274" v="9" actId="2711"/>
          <ac:spMkLst>
            <pc:docMk/>
            <pc:sldMk cId="1081037514" sldId="2145706225"/>
            <ac:spMk id="11" creationId="{BC202C79-EF00-4794-A5E7-54FD1AD6FFEC}"/>
          </ac:spMkLst>
        </pc:spChg>
        <pc:spChg chg="mod">
          <ac:chgData name="Graf Thomas, INI-NET-VNC-HCS" userId="487bc3e3-9ce7-4cdd-b7b4-8899ea88d289" providerId="ADAL" clId="{E3161F74-B0AA-40DC-ADA6-35AF10BC3613}" dt="2024-07-14T06:36:00.274" v="9" actId="2711"/>
          <ac:spMkLst>
            <pc:docMk/>
            <pc:sldMk cId="1081037514" sldId="2145706225"/>
            <ac:spMk id="12" creationId="{D0BEF0AD-9BD5-957F-DF20-EA76A3E6320A}"/>
          </ac:spMkLst>
        </pc:spChg>
        <pc:spChg chg="mod">
          <ac:chgData name="Graf Thomas, INI-NET-VNC-HCS" userId="487bc3e3-9ce7-4cdd-b7b4-8899ea88d289" providerId="ADAL" clId="{E3161F74-B0AA-40DC-ADA6-35AF10BC3613}" dt="2024-07-14T06:36:51.608" v="57" actId="113"/>
          <ac:spMkLst>
            <pc:docMk/>
            <pc:sldMk cId="1081037514" sldId="2145706225"/>
            <ac:spMk id="14" creationId="{A1EA8359-DC79-8122-1266-D00A47BFEBE7}"/>
          </ac:spMkLst>
        </pc:spChg>
        <pc:spChg chg="mod">
          <ac:chgData name="Graf Thomas, INI-NET-VNC-HCS" userId="487bc3e3-9ce7-4cdd-b7b4-8899ea88d289" providerId="ADAL" clId="{E3161F74-B0AA-40DC-ADA6-35AF10BC3613}" dt="2024-07-14T06:36:00.274" v="9" actId="2711"/>
          <ac:spMkLst>
            <pc:docMk/>
            <pc:sldMk cId="1081037514" sldId="2145706225"/>
            <ac:spMk id="15" creationId="{F228A6D5-55A8-F878-625A-2CFBC2A4CC8C}"/>
          </ac:spMkLst>
        </pc:spChg>
        <pc:spChg chg="mod">
          <ac:chgData name="Graf Thomas, INI-NET-VNC-HCS" userId="487bc3e3-9ce7-4cdd-b7b4-8899ea88d289" providerId="ADAL" clId="{E3161F74-B0AA-40DC-ADA6-35AF10BC3613}" dt="2024-07-14T06:36:00.274" v="9" actId="2711"/>
          <ac:spMkLst>
            <pc:docMk/>
            <pc:sldMk cId="1081037514" sldId="2145706225"/>
            <ac:spMk id="16" creationId="{B76F4586-6C16-9488-8080-DC2366DDC57B}"/>
          </ac:spMkLst>
        </pc:spChg>
        <pc:spChg chg="mod">
          <ac:chgData name="Graf Thomas, INI-NET-VNC-HCS" userId="487bc3e3-9ce7-4cdd-b7b4-8899ea88d289" providerId="ADAL" clId="{E3161F74-B0AA-40DC-ADA6-35AF10BC3613}" dt="2024-07-14T06:36:00.274" v="9" actId="2711"/>
          <ac:spMkLst>
            <pc:docMk/>
            <pc:sldMk cId="1081037514" sldId="2145706225"/>
            <ac:spMk id="18" creationId="{710443C2-A213-C93E-D7DE-9256AD74C9AA}"/>
          </ac:spMkLst>
        </pc:spChg>
        <pc:spChg chg="mod">
          <ac:chgData name="Graf Thomas, INI-NET-VNC-HCS" userId="487bc3e3-9ce7-4cdd-b7b4-8899ea88d289" providerId="ADAL" clId="{E3161F74-B0AA-40DC-ADA6-35AF10BC3613}" dt="2024-07-14T06:36:00.274" v="9" actId="2711"/>
          <ac:spMkLst>
            <pc:docMk/>
            <pc:sldMk cId="1081037514" sldId="2145706225"/>
            <ac:spMk id="19" creationId="{B0C54029-2E2D-F6C0-FCED-13B25FD81DFE}"/>
          </ac:spMkLst>
        </pc:spChg>
        <pc:spChg chg="mod">
          <ac:chgData name="Graf Thomas, INI-NET-VNC-HCS" userId="487bc3e3-9ce7-4cdd-b7b4-8899ea88d289" providerId="ADAL" clId="{E3161F74-B0AA-40DC-ADA6-35AF10BC3613}" dt="2024-07-14T06:36:00.274" v="9" actId="2711"/>
          <ac:spMkLst>
            <pc:docMk/>
            <pc:sldMk cId="1081037514" sldId="2145706225"/>
            <ac:spMk id="21" creationId="{8B96C491-62EA-C102-02AE-9C35C6819F7C}"/>
          </ac:spMkLst>
        </pc:spChg>
        <pc:spChg chg="mod">
          <ac:chgData name="Graf Thomas, INI-NET-VNC-HCS" userId="487bc3e3-9ce7-4cdd-b7b4-8899ea88d289" providerId="ADAL" clId="{E3161F74-B0AA-40DC-ADA6-35AF10BC3613}" dt="2024-07-14T06:36:00.274" v="9" actId="2711"/>
          <ac:spMkLst>
            <pc:docMk/>
            <pc:sldMk cId="1081037514" sldId="2145706225"/>
            <ac:spMk id="22" creationId="{CD5EEA4E-05C6-79F3-6419-252AE948AC1F}"/>
          </ac:spMkLst>
        </pc:spChg>
        <pc:spChg chg="mod">
          <ac:chgData name="Graf Thomas, INI-NET-VNC-HCS" userId="487bc3e3-9ce7-4cdd-b7b4-8899ea88d289" providerId="ADAL" clId="{E3161F74-B0AA-40DC-ADA6-35AF10BC3613}" dt="2024-07-14T06:36:00.274" v="9" actId="2711"/>
          <ac:spMkLst>
            <pc:docMk/>
            <pc:sldMk cId="1081037514" sldId="2145706225"/>
            <ac:spMk id="24" creationId="{AF618EBE-6571-2ABA-C463-166B9EC84BF4}"/>
          </ac:spMkLst>
        </pc:spChg>
        <pc:spChg chg="mod">
          <ac:chgData name="Graf Thomas, INI-NET-VNC-HCS" userId="487bc3e3-9ce7-4cdd-b7b4-8899ea88d289" providerId="ADAL" clId="{E3161F74-B0AA-40DC-ADA6-35AF10BC3613}" dt="2024-07-14T06:36:00.274" v="9" actId="2711"/>
          <ac:spMkLst>
            <pc:docMk/>
            <pc:sldMk cId="1081037514" sldId="2145706225"/>
            <ac:spMk id="25" creationId="{6E4AAC49-253A-16CD-EEDC-0B1795F09A96}"/>
          </ac:spMkLst>
        </pc:spChg>
        <pc:spChg chg="mod">
          <ac:chgData name="Graf Thomas, INI-NET-VNC-HCS" userId="487bc3e3-9ce7-4cdd-b7b4-8899ea88d289" providerId="ADAL" clId="{E3161F74-B0AA-40DC-ADA6-35AF10BC3613}" dt="2024-07-14T06:36:33.275" v="56" actId="1036"/>
          <ac:spMkLst>
            <pc:docMk/>
            <pc:sldMk cId="1081037514" sldId="2145706225"/>
            <ac:spMk id="29" creationId="{5DF5E834-66E3-AE49-4040-1D628970A3FC}"/>
          </ac:spMkLst>
        </pc:spChg>
        <pc:spChg chg="mod">
          <ac:chgData name="Graf Thomas, INI-NET-VNC-HCS" userId="487bc3e3-9ce7-4cdd-b7b4-8899ea88d289" providerId="ADAL" clId="{E3161F74-B0AA-40DC-ADA6-35AF10BC3613}" dt="2024-07-14T06:36:33.275" v="56" actId="1036"/>
          <ac:spMkLst>
            <pc:docMk/>
            <pc:sldMk cId="1081037514" sldId="2145706225"/>
            <ac:spMk id="30" creationId="{BA1C20F7-8218-7EF6-0AE8-992862F0E030}"/>
          </ac:spMkLst>
        </pc:spChg>
        <pc:spChg chg="del">
          <ac:chgData name="Graf Thomas, INI-NET-VNC-HCS" userId="487bc3e3-9ce7-4cdd-b7b4-8899ea88d289" providerId="ADAL" clId="{E3161F74-B0AA-40DC-ADA6-35AF10BC3613}" dt="2024-07-14T06:35:33.905" v="7" actId="478"/>
          <ac:spMkLst>
            <pc:docMk/>
            <pc:sldMk cId="1081037514" sldId="2145706225"/>
            <ac:spMk id="39" creationId="{E2C5DAC4-E571-363C-E57D-8F3EA7B6E611}"/>
          </ac:spMkLst>
        </pc:spChg>
        <pc:spChg chg="mod">
          <ac:chgData name="Graf Thomas, INI-NET-VNC-HCS" userId="487bc3e3-9ce7-4cdd-b7b4-8899ea88d289" providerId="ADAL" clId="{E3161F74-B0AA-40DC-ADA6-35AF10BC3613}" dt="2024-07-14T06:37:21.846" v="65" actId="113"/>
          <ac:spMkLst>
            <pc:docMk/>
            <pc:sldMk cId="1081037514" sldId="2145706225"/>
            <ac:spMk id="41" creationId="{1686B893-78A4-3D56-EECA-A2AEF814D57E}"/>
          </ac:spMkLst>
        </pc:spChg>
        <pc:spChg chg="mod">
          <ac:chgData name="Graf Thomas, INI-NET-VNC-HCS" userId="487bc3e3-9ce7-4cdd-b7b4-8899ea88d289" providerId="ADAL" clId="{E3161F74-B0AA-40DC-ADA6-35AF10BC3613}" dt="2024-07-14T06:36:33.275" v="56" actId="1036"/>
          <ac:spMkLst>
            <pc:docMk/>
            <pc:sldMk cId="1081037514" sldId="2145706225"/>
            <ac:spMk id="43" creationId="{0BE6D769-3D3F-136C-2542-47D8CD603382}"/>
          </ac:spMkLst>
        </pc:spChg>
        <pc:spChg chg="add mod">
          <ac:chgData name="Graf Thomas, INI-NET-VNC-HCS" userId="487bc3e3-9ce7-4cdd-b7b4-8899ea88d289" providerId="ADAL" clId="{E3161F74-B0AA-40DC-ADA6-35AF10BC3613}" dt="2024-07-14T06:37:20.082" v="62" actId="113"/>
          <ac:spMkLst>
            <pc:docMk/>
            <pc:sldMk cId="1081037514" sldId="2145706225"/>
            <ac:spMk id="44" creationId="{3AEDF2F7-CBB1-37EC-1E76-291921B5FC70}"/>
          </ac:spMkLst>
        </pc:spChg>
        <pc:spChg chg="add del mod">
          <ac:chgData name="Graf Thomas, INI-NET-VNC-HCS" userId="487bc3e3-9ce7-4cdd-b7b4-8899ea88d289" providerId="ADAL" clId="{E3161F74-B0AA-40DC-ADA6-35AF10BC3613}" dt="2024-07-14T06:35:09.551" v="5"/>
          <ac:spMkLst>
            <pc:docMk/>
            <pc:sldMk cId="1081037514" sldId="2145706225"/>
            <ac:spMk id="45" creationId="{5E46F8C3-5061-DCFA-8537-71B128389C77}"/>
          </ac:spMkLst>
        </pc:spChg>
        <pc:spChg chg="add mod">
          <ac:chgData name="Graf Thomas, INI-NET-VNC-HCS" userId="487bc3e3-9ce7-4cdd-b7b4-8899ea88d289" providerId="ADAL" clId="{E3161F74-B0AA-40DC-ADA6-35AF10BC3613}" dt="2024-07-14T06:36:33.275" v="56" actId="1036"/>
          <ac:spMkLst>
            <pc:docMk/>
            <pc:sldMk cId="1081037514" sldId="2145706225"/>
            <ac:spMk id="46" creationId="{739358FF-EF3C-19A5-B66E-56764914554A}"/>
          </ac:spMkLst>
        </pc:spChg>
        <pc:spChg chg="del">
          <ac:chgData name="Graf Thomas, INI-NET-VNC-HCS" userId="487bc3e3-9ce7-4cdd-b7b4-8899ea88d289" providerId="ADAL" clId="{E3161F74-B0AA-40DC-ADA6-35AF10BC3613}" dt="2024-07-14T06:35:30.795" v="6" actId="478"/>
          <ac:spMkLst>
            <pc:docMk/>
            <pc:sldMk cId="1081037514" sldId="2145706225"/>
            <ac:spMk id="49" creationId="{9DA38AA2-A8F2-8D1B-FF42-9920ACF088FF}"/>
          </ac:spMkLst>
        </pc:spChg>
        <pc:spChg chg="del">
          <ac:chgData name="Graf Thomas, INI-NET-VNC-HCS" userId="487bc3e3-9ce7-4cdd-b7b4-8899ea88d289" providerId="ADAL" clId="{E3161F74-B0AA-40DC-ADA6-35AF10BC3613}" dt="2024-07-14T06:34:38.551" v="0" actId="478"/>
          <ac:spMkLst>
            <pc:docMk/>
            <pc:sldMk cId="1081037514" sldId="2145706225"/>
            <ac:spMk id="50" creationId="{E6F4D9EF-7813-54D5-B0A7-BB6DFF65B9B1}"/>
          </ac:spMkLst>
        </pc:spChg>
        <pc:spChg chg="add mod">
          <ac:chgData name="Graf Thomas, INI-NET-VNC-HCS" userId="487bc3e3-9ce7-4cdd-b7b4-8899ea88d289" providerId="ADAL" clId="{E3161F74-B0AA-40DC-ADA6-35AF10BC3613}" dt="2024-07-14T06:36:33.275" v="56" actId="1036"/>
          <ac:spMkLst>
            <pc:docMk/>
            <pc:sldMk cId="1081037514" sldId="2145706225"/>
            <ac:spMk id="51" creationId="{8B2D3939-F517-F366-148A-DF75104D4638}"/>
          </ac:spMkLst>
        </pc:spChg>
        <pc:grpChg chg="mod">
          <ac:chgData name="Graf Thomas, INI-NET-VNC-HCS" userId="487bc3e3-9ce7-4cdd-b7b4-8899ea88d289" providerId="ADAL" clId="{E3161F74-B0AA-40DC-ADA6-35AF10BC3613}" dt="2024-07-14T06:36:33.275" v="56" actId="1036"/>
          <ac:grpSpMkLst>
            <pc:docMk/>
            <pc:sldMk cId="1081037514" sldId="2145706225"/>
            <ac:grpSpMk id="2" creationId="{593A3D2C-AF3C-4647-1B02-6C5086C62287}"/>
          </ac:grpSpMkLst>
        </pc:grpChg>
        <pc:grpChg chg="mod">
          <ac:chgData name="Graf Thomas, INI-NET-VNC-HCS" userId="487bc3e3-9ce7-4cdd-b7b4-8899ea88d289" providerId="ADAL" clId="{E3161F74-B0AA-40DC-ADA6-35AF10BC3613}" dt="2024-07-14T06:36:33.275" v="56" actId="1036"/>
          <ac:grpSpMkLst>
            <pc:docMk/>
            <pc:sldMk cId="1081037514" sldId="2145706225"/>
            <ac:grpSpMk id="7" creationId="{746914D8-DC97-6FCE-CCEC-831AF8343A92}"/>
          </ac:grpSpMkLst>
        </pc:grpChg>
        <pc:grpChg chg="mod">
          <ac:chgData name="Graf Thomas, INI-NET-VNC-HCS" userId="487bc3e3-9ce7-4cdd-b7b4-8899ea88d289" providerId="ADAL" clId="{E3161F74-B0AA-40DC-ADA6-35AF10BC3613}" dt="2024-07-14T06:36:33.275" v="56" actId="1036"/>
          <ac:grpSpMkLst>
            <pc:docMk/>
            <pc:sldMk cId="1081037514" sldId="2145706225"/>
            <ac:grpSpMk id="10" creationId="{2A39462A-F04D-B596-7A41-2767D485510C}"/>
          </ac:grpSpMkLst>
        </pc:grpChg>
        <pc:grpChg chg="mod">
          <ac:chgData name="Graf Thomas, INI-NET-VNC-HCS" userId="487bc3e3-9ce7-4cdd-b7b4-8899ea88d289" providerId="ADAL" clId="{E3161F74-B0AA-40DC-ADA6-35AF10BC3613}" dt="2024-07-14T06:36:33.275" v="56" actId="1036"/>
          <ac:grpSpMkLst>
            <pc:docMk/>
            <pc:sldMk cId="1081037514" sldId="2145706225"/>
            <ac:grpSpMk id="13" creationId="{C27136FF-F3FA-F76D-A713-2F31CB874934}"/>
          </ac:grpSpMkLst>
        </pc:grpChg>
        <pc:grpChg chg="mod">
          <ac:chgData name="Graf Thomas, INI-NET-VNC-HCS" userId="487bc3e3-9ce7-4cdd-b7b4-8899ea88d289" providerId="ADAL" clId="{E3161F74-B0AA-40DC-ADA6-35AF10BC3613}" dt="2024-07-14T06:36:33.275" v="56" actId="1036"/>
          <ac:grpSpMkLst>
            <pc:docMk/>
            <pc:sldMk cId="1081037514" sldId="2145706225"/>
            <ac:grpSpMk id="17" creationId="{CEB0384D-AE7F-401C-F7FF-BDAEA866A31A}"/>
          </ac:grpSpMkLst>
        </pc:grpChg>
        <pc:grpChg chg="mod">
          <ac:chgData name="Graf Thomas, INI-NET-VNC-HCS" userId="487bc3e3-9ce7-4cdd-b7b4-8899ea88d289" providerId="ADAL" clId="{E3161F74-B0AA-40DC-ADA6-35AF10BC3613}" dt="2024-07-14T06:36:33.275" v="56" actId="1036"/>
          <ac:grpSpMkLst>
            <pc:docMk/>
            <pc:sldMk cId="1081037514" sldId="2145706225"/>
            <ac:grpSpMk id="20" creationId="{1B5435B3-AE86-5E3B-7DD7-612D9AD30695}"/>
          </ac:grpSpMkLst>
        </pc:grpChg>
        <pc:grpChg chg="mod">
          <ac:chgData name="Graf Thomas, INI-NET-VNC-HCS" userId="487bc3e3-9ce7-4cdd-b7b4-8899ea88d289" providerId="ADAL" clId="{E3161F74-B0AA-40DC-ADA6-35AF10BC3613}" dt="2024-07-14T06:36:33.275" v="56" actId="1036"/>
          <ac:grpSpMkLst>
            <pc:docMk/>
            <pc:sldMk cId="1081037514" sldId="2145706225"/>
            <ac:grpSpMk id="23" creationId="{43DA79DF-E42D-79DA-2E63-37571E43F0EB}"/>
          </ac:grpSpMkLst>
        </pc:grpChg>
        <pc:picChg chg="mod">
          <ac:chgData name="Graf Thomas, INI-NET-VNC-HCS" userId="487bc3e3-9ce7-4cdd-b7b4-8899ea88d289" providerId="ADAL" clId="{E3161F74-B0AA-40DC-ADA6-35AF10BC3613}" dt="2024-07-14T06:36:33.275" v="56" actId="1036"/>
          <ac:picMkLst>
            <pc:docMk/>
            <pc:sldMk cId="1081037514" sldId="2145706225"/>
            <ac:picMk id="27" creationId="{2C9830F3-CBF4-D372-DBC5-8AB3BCB5DD2A}"/>
          </ac:picMkLst>
        </pc:picChg>
        <pc:picChg chg="mod">
          <ac:chgData name="Graf Thomas, INI-NET-VNC-HCS" userId="487bc3e3-9ce7-4cdd-b7b4-8899ea88d289" providerId="ADAL" clId="{E3161F74-B0AA-40DC-ADA6-35AF10BC3613}" dt="2024-07-14T06:36:33.275" v="56" actId="1036"/>
          <ac:picMkLst>
            <pc:docMk/>
            <pc:sldMk cId="1081037514" sldId="2145706225"/>
            <ac:picMk id="28" creationId="{17EB060B-2351-6AC0-7856-F33CB052400F}"/>
          </ac:picMkLst>
        </pc:picChg>
        <pc:picChg chg="mod">
          <ac:chgData name="Graf Thomas, INI-NET-VNC-HCS" userId="487bc3e3-9ce7-4cdd-b7b4-8899ea88d289" providerId="ADAL" clId="{E3161F74-B0AA-40DC-ADA6-35AF10BC3613}" dt="2024-07-14T06:36:33.275" v="56" actId="1036"/>
          <ac:picMkLst>
            <pc:docMk/>
            <pc:sldMk cId="1081037514" sldId="2145706225"/>
            <ac:picMk id="31" creationId="{17DF8467-9125-3982-1295-79F29C9B0DC8}"/>
          </ac:picMkLst>
        </pc:picChg>
        <pc:picChg chg="mod">
          <ac:chgData name="Graf Thomas, INI-NET-VNC-HCS" userId="487bc3e3-9ce7-4cdd-b7b4-8899ea88d289" providerId="ADAL" clId="{E3161F74-B0AA-40DC-ADA6-35AF10BC3613}" dt="2024-07-14T06:36:33.275" v="56" actId="1036"/>
          <ac:picMkLst>
            <pc:docMk/>
            <pc:sldMk cId="1081037514" sldId="2145706225"/>
            <ac:picMk id="32" creationId="{C770A491-1DB5-77FC-712B-35F7A47E2F99}"/>
          </ac:picMkLst>
        </pc:picChg>
        <pc:picChg chg="mod">
          <ac:chgData name="Graf Thomas, INI-NET-VNC-HCS" userId="487bc3e3-9ce7-4cdd-b7b4-8899ea88d289" providerId="ADAL" clId="{E3161F74-B0AA-40DC-ADA6-35AF10BC3613}" dt="2024-07-14T06:36:33.275" v="56" actId="1036"/>
          <ac:picMkLst>
            <pc:docMk/>
            <pc:sldMk cId="1081037514" sldId="2145706225"/>
            <ac:picMk id="33" creationId="{17CD1AF5-AD78-AA80-9E26-C4515CC45BFA}"/>
          </ac:picMkLst>
        </pc:picChg>
        <pc:picChg chg="mod">
          <ac:chgData name="Graf Thomas, INI-NET-VNC-HCS" userId="487bc3e3-9ce7-4cdd-b7b4-8899ea88d289" providerId="ADAL" clId="{E3161F74-B0AA-40DC-ADA6-35AF10BC3613}" dt="2024-07-14T06:36:33.275" v="56" actId="1036"/>
          <ac:picMkLst>
            <pc:docMk/>
            <pc:sldMk cId="1081037514" sldId="2145706225"/>
            <ac:picMk id="34" creationId="{0DF49D5E-4B86-6869-98D7-DE092FC30B18}"/>
          </ac:picMkLst>
        </pc:picChg>
        <pc:picChg chg="mod">
          <ac:chgData name="Graf Thomas, INI-NET-VNC-HCS" userId="487bc3e3-9ce7-4cdd-b7b4-8899ea88d289" providerId="ADAL" clId="{E3161F74-B0AA-40DC-ADA6-35AF10BC3613}" dt="2024-07-14T06:36:33.275" v="56" actId="1036"/>
          <ac:picMkLst>
            <pc:docMk/>
            <pc:sldMk cId="1081037514" sldId="2145706225"/>
            <ac:picMk id="35" creationId="{76768564-2BA7-E325-FE43-6D4CE762CDAA}"/>
          </ac:picMkLst>
        </pc:picChg>
        <pc:picChg chg="mod">
          <ac:chgData name="Graf Thomas, INI-NET-VNC-HCS" userId="487bc3e3-9ce7-4cdd-b7b4-8899ea88d289" providerId="ADAL" clId="{E3161F74-B0AA-40DC-ADA6-35AF10BC3613}" dt="2024-07-14T06:36:33.275" v="56" actId="1036"/>
          <ac:picMkLst>
            <pc:docMk/>
            <pc:sldMk cId="1081037514" sldId="2145706225"/>
            <ac:picMk id="36" creationId="{BA0A7074-FC27-6B8B-F899-8DDE2533BB10}"/>
          </ac:picMkLst>
        </pc:picChg>
        <pc:picChg chg="mod">
          <ac:chgData name="Graf Thomas, INI-NET-VNC-HCS" userId="487bc3e3-9ce7-4cdd-b7b4-8899ea88d289" providerId="ADAL" clId="{E3161F74-B0AA-40DC-ADA6-35AF10BC3613}" dt="2024-07-14T06:36:33.275" v="56" actId="1036"/>
          <ac:picMkLst>
            <pc:docMk/>
            <pc:sldMk cId="1081037514" sldId="2145706225"/>
            <ac:picMk id="37" creationId="{D966A7CE-25D4-DED2-6D45-788D6CB73BA2}"/>
          </ac:picMkLst>
        </pc:picChg>
        <pc:cxnChg chg="mod">
          <ac:chgData name="Graf Thomas, INI-NET-VNC-HCS" userId="487bc3e3-9ce7-4cdd-b7b4-8899ea88d289" providerId="ADAL" clId="{E3161F74-B0AA-40DC-ADA6-35AF10BC3613}" dt="2024-07-14T06:36:33.275" v="56" actId="1036"/>
          <ac:cxnSpMkLst>
            <pc:docMk/>
            <pc:sldMk cId="1081037514" sldId="2145706225"/>
            <ac:cxnSpMk id="26" creationId="{E14B17EC-9407-E3A2-1F7C-D47095BE2DDB}"/>
          </ac:cxnSpMkLst>
        </pc:cxnChg>
        <pc:cxnChg chg="mod">
          <ac:chgData name="Graf Thomas, INI-NET-VNC-HCS" userId="487bc3e3-9ce7-4cdd-b7b4-8899ea88d289" providerId="ADAL" clId="{E3161F74-B0AA-40DC-ADA6-35AF10BC3613}" dt="2024-07-14T06:36:33.275" v="56" actId="1036"/>
          <ac:cxnSpMkLst>
            <pc:docMk/>
            <pc:sldMk cId="1081037514" sldId="2145706225"/>
            <ac:cxnSpMk id="38" creationId="{10DC3853-02C8-D495-EDB1-B0129F6F9E30}"/>
          </ac:cxnSpMkLst>
        </pc:cxnChg>
        <pc:cxnChg chg="mod">
          <ac:chgData name="Graf Thomas, INI-NET-VNC-HCS" userId="487bc3e3-9ce7-4cdd-b7b4-8899ea88d289" providerId="ADAL" clId="{E3161F74-B0AA-40DC-ADA6-35AF10BC3613}" dt="2024-07-14T06:36:33.275" v="56" actId="1036"/>
          <ac:cxnSpMkLst>
            <pc:docMk/>
            <pc:sldMk cId="1081037514" sldId="2145706225"/>
            <ac:cxnSpMk id="40" creationId="{9BC6E6D7-2688-CCDB-6A6C-7880291A8339}"/>
          </ac:cxnSpMkLst>
        </pc:cxnChg>
        <pc:cxnChg chg="mod">
          <ac:chgData name="Graf Thomas, INI-NET-VNC-HCS" userId="487bc3e3-9ce7-4cdd-b7b4-8899ea88d289" providerId="ADAL" clId="{E3161F74-B0AA-40DC-ADA6-35AF10BC3613}" dt="2024-07-14T06:36:33.275" v="56" actId="1036"/>
          <ac:cxnSpMkLst>
            <pc:docMk/>
            <pc:sldMk cId="1081037514" sldId="2145706225"/>
            <ac:cxnSpMk id="42" creationId="{3CD8EA4A-314A-BB28-E712-414D5F01E35F}"/>
          </ac:cxnSpMkLst>
        </pc:cxnChg>
        <pc:cxnChg chg="mod">
          <ac:chgData name="Graf Thomas, INI-NET-VNC-HCS" userId="487bc3e3-9ce7-4cdd-b7b4-8899ea88d289" providerId="ADAL" clId="{E3161F74-B0AA-40DC-ADA6-35AF10BC3613}" dt="2024-07-14T06:36:33.275" v="56" actId="1036"/>
          <ac:cxnSpMkLst>
            <pc:docMk/>
            <pc:sldMk cId="1081037514" sldId="2145706225"/>
            <ac:cxnSpMk id="47" creationId="{1E3CC50D-6BF1-E751-D746-D130EE998D4B}"/>
          </ac:cxnSpMkLst>
        </pc:cxnChg>
      </pc:sldChg>
      <pc:sldChg chg="ord">
        <pc:chgData name="Graf Thomas, INI-NET-VNC-HCS" userId="487bc3e3-9ce7-4cdd-b7b4-8899ea88d289" providerId="ADAL" clId="{E3161F74-B0AA-40DC-ADA6-35AF10BC3613}" dt="2024-07-14T07:15:13.281" v="621"/>
        <pc:sldMkLst>
          <pc:docMk/>
          <pc:sldMk cId="663711217" sldId="2145706234"/>
        </pc:sldMkLst>
      </pc:sldChg>
      <pc:sldChg chg="add del">
        <pc:chgData name="Graf Thomas, INI-NET-VNC-HCS" userId="487bc3e3-9ce7-4cdd-b7b4-8899ea88d289" providerId="ADAL" clId="{E3161F74-B0AA-40DC-ADA6-35AF10BC3613}" dt="2024-07-14T07:16:33.237" v="624"/>
        <pc:sldMkLst>
          <pc:docMk/>
          <pc:sldMk cId="3864283889" sldId="2145706236"/>
        </pc:sldMkLst>
      </pc:sldChg>
      <pc:sldChg chg="del">
        <pc:chgData name="Graf Thomas, INI-NET-VNC-HCS" userId="487bc3e3-9ce7-4cdd-b7b4-8899ea88d289" providerId="ADAL" clId="{E3161F74-B0AA-40DC-ADA6-35AF10BC3613}" dt="2024-07-14T08:00:09.127" v="1645" actId="47"/>
        <pc:sldMkLst>
          <pc:docMk/>
          <pc:sldMk cId="2617504443" sldId="2145706242"/>
        </pc:sldMkLst>
      </pc:sldChg>
      <pc:sldChg chg="addSp delSp modSp add mod">
        <pc:chgData name="Graf Thomas, INI-NET-VNC-HCS" userId="487bc3e3-9ce7-4cdd-b7b4-8899ea88d289" providerId="ADAL" clId="{E3161F74-B0AA-40DC-ADA6-35AF10BC3613}" dt="2024-07-14T07:55:45.908" v="1558" actId="20577"/>
        <pc:sldMkLst>
          <pc:docMk/>
          <pc:sldMk cId="2330400467" sldId="2145706246"/>
        </pc:sldMkLst>
        <pc:spChg chg="add mod">
          <ac:chgData name="Graf Thomas, INI-NET-VNC-HCS" userId="487bc3e3-9ce7-4cdd-b7b4-8899ea88d289" providerId="ADAL" clId="{E3161F74-B0AA-40DC-ADA6-35AF10BC3613}" dt="2024-07-14T07:55:45.908" v="1558" actId="20577"/>
          <ac:spMkLst>
            <pc:docMk/>
            <pc:sldMk cId="2330400467" sldId="2145706246"/>
            <ac:spMk id="3" creationId="{8958B48B-ADF9-4C08-071D-E75646D4DABC}"/>
          </ac:spMkLst>
        </pc:spChg>
        <pc:spChg chg="del">
          <ac:chgData name="Graf Thomas, INI-NET-VNC-HCS" userId="487bc3e3-9ce7-4cdd-b7b4-8899ea88d289" providerId="ADAL" clId="{E3161F74-B0AA-40DC-ADA6-35AF10BC3613}" dt="2024-07-14T07:29:02.363" v="693" actId="478"/>
          <ac:spMkLst>
            <pc:docMk/>
            <pc:sldMk cId="2330400467" sldId="2145706246"/>
            <ac:spMk id="5" creationId="{BE27FBF8-9F9C-61DE-9B1B-80BC953FE3FD}"/>
          </ac:spMkLst>
        </pc:spChg>
        <pc:spChg chg="add mod">
          <ac:chgData name="Graf Thomas, INI-NET-VNC-HCS" userId="487bc3e3-9ce7-4cdd-b7b4-8899ea88d289" providerId="ADAL" clId="{E3161F74-B0AA-40DC-ADA6-35AF10BC3613}" dt="2024-07-14T07:29:39.143" v="698" actId="692"/>
          <ac:spMkLst>
            <pc:docMk/>
            <pc:sldMk cId="2330400467" sldId="2145706246"/>
            <ac:spMk id="9" creationId="{EB8EE06A-9C5A-1497-6091-14DF67137B7E}"/>
          </ac:spMkLst>
        </pc:spChg>
        <pc:spChg chg="add mod">
          <ac:chgData name="Graf Thomas, INI-NET-VNC-HCS" userId="487bc3e3-9ce7-4cdd-b7b4-8899ea88d289" providerId="ADAL" clId="{E3161F74-B0AA-40DC-ADA6-35AF10BC3613}" dt="2024-07-14T07:29:39.143" v="698" actId="692"/>
          <ac:spMkLst>
            <pc:docMk/>
            <pc:sldMk cId="2330400467" sldId="2145706246"/>
            <ac:spMk id="10" creationId="{71CF02A3-82A0-40D0-9B64-6B9FC20586A6}"/>
          </ac:spMkLst>
        </pc:spChg>
        <pc:spChg chg="add mod">
          <ac:chgData name="Graf Thomas, INI-NET-VNC-HCS" userId="487bc3e3-9ce7-4cdd-b7b4-8899ea88d289" providerId="ADAL" clId="{E3161F74-B0AA-40DC-ADA6-35AF10BC3613}" dt="2024-07-14T07:29:39.143" v="698" actId="692"/>
          <ac:spMkLst>
            <pc:docMk/>
            <pc:sldMk cId="2330400467" sldId="2145706246"/>
            <ac:spMk id="11" creationId="{0CFA25E0-D5B0-91D3-117C-26055F6E5CC6}"/>
          </ac:spMkLst>
        </pc:spChg>
        <pc:spChg chg="add mod">
          <ac:chgData name="Graf Thomas, INI-NET-VNC-HCS" userId="487bc3e3-9ce7-4cdd-b7b4-8899ea88d289" providerId="ADAL" clId="{E3161F74-B0AA-40DC-ADA6-35AF10BC3613}" dt="2024-07-14T07:30:10.197" v="703" actId="1076"/>
          <ac:spMkLst>
            <pc:docMk/>
            <pc:sldMk cId="2330400467" sldId="2145706246"/>
            <ac:spMk id="15" creationId="{987BEEEE-087C-C4CD-2079-D081718361C6}"/>
          </ac:spMkLst>
        </pc:spChg>
        <pc:spChg chg="del">
          <ac:chgData name="Graf Thomas, INI-NET-VNC-HCS" userId="487bc3e3-9ce7-4cdd-b7b4-8899ea88d289" providerId="ADAL" clId="{E3161F74-B0AA-40DC-ADA6-35AF10BC3613}" dt="2024-07-14T07:28:59.480" v="692" actId="478"/>
          <ac:spMkLst>
            <pc:docMk/>
            <pc:sldMk cId="2330400467" sldId="2145706246"/>
            <ac:spMk id="44" creationId="{15CD4C55-C198-D765-7F4F-A0AFD8A7DA0C}"/>
          </ac:spMkLst>
        </pc:spChg>
        <pc:spChg chg="del">
          <ac:chgData name="Graf Thomas, INI-NET-VNC-HCS" userId="487bc3e3-9ce7-4cdd-b7b4-8899ea88d289" providerId="ADAL" clId="{E3161F74-B0AA-40DC-ADA6-35AF10BC3613}" dt="2024-07-14T07:28:59.480" v="692" actId="478"/>
          <ac:spMkLst>
            <pc:docMk/>
            <pc:sldMk cId="2330400467" sldId="2145706246"/>
            <ac:spMk id="45" creationId="{C3789785-D969-62C7-6309-6DF76E73CC4E}"/>
          </ac:spMkLst>
        </pc:spChg>
        <pc:spChg chg="del">
          <ac:chgData name="Graf Thomas, INI-NET-VNC-HCS" userId="487bc3e3-9ce7-4cdd-b7b4-8899ea88d289" providerId="ADAL" clId="{E3161F74-B0AA-40DC-ADA6-35AF10BC3613}" dt="2024-07-14T07:28:59.480" v="692" actId="478"/>
          <ac:spMkLst>
            <pc:docMk/>
            <pc:sldMk cId="2330400467" sldId="2145706246"/>
            <ac:spMk id="46" creationId="{A5B6D27F-95E4-A477-DAD2-725CA83EC9ED}"/>
          </ac:spMkLst>
        </pc:spChg>
        <pc:spChg chg="mod">
          <ac:chgData name="Graf Thomas, INI-NET-VNC-HCS" userId="487bc3e3-9ce7-4cdd-b7b4-8899ea88d289" providerId="ADAL" clId="{E3161F74-B0AA-40DC-ADA6-35AF10BC3613}" dt="2024-07-14T07:27:46.729" v="690" actId="108"/>
          <ac:spMkLst>
            <pc:docMk/>
            <pc:sldMk cId="2330400467" sldId="2145706246"/>
            <ac:spMk id="48" creationId="{A48B1DB7-BCDC-5D18-F56D-8A1447F1B8BA}"/>
          </ac:spMkLst>
        </pc:spChg>
        <pc:spChg chg="del">
          <ac:chgData name="Graf Thomas, INI-NET-VNC-HCS" userId="487bc3e3-9ce7-4cdd-b7b4-8899ea88d289" providerId="ADAL" clId="{E3161F74-B0AA-40DC-ADA6-35AF10BC3613}" dt="2024-07-14T07:28:59.480" v="692" actId="478"/>
          <ac:spMkLst>
            <pc:docMk/>
            <pc:sldMk cId="2330400467" sldId="2145706246"/>
            <ac:spMk id="54" creationId="{C011D8AD-2EA6-5288-3ECE-31DACDB8DC5F}"/>
          </ac:spMkLst>
        </pc:spChg>
        <pc:spChg chg="del">
          <ac:chgData name="Graf Thomas, INI-NET-VNC-HCS" userId="487bc3e3-9ce7-4cdd-b7b4-8899ea88d289" providerId="ADAL" clId="{E3161F74-B0AA-40DC-ADA6-35AF10BC3613}" dt="2024-07-14T07:28:59.480" v="692" actId="478"/>
          <ac:spMkLst>
            <pc:docMk/>
            <pc:sldMk cId="2330400467" sldId="2145706246"/>
            <ac:spMk id="55" creationId="{6D9672A8-4A6D-6FEF-60F2-822C102E478B}"/>
          </ac:spMkLst>
        </pc:spChg>
        <pc:spChg chg="del">
          <ac:chgData name="Graf Thomas, INI-NET-VNC-HCS" userId="487bc3e3-9ce7-4cdd-b7b4-8899ea88d289" providerId="ADAL" clId="{E3161F74-B0AA-40DC-ADA6-35AF10BC3613}" dt="2024-07-14T07:28:59.480" v="692" actId="478"/>
          <ac:spMkLst>
            <pc:docMk/>
            <pc:sldMk cId="2330400467" sldId="2145706246"/>
            <ac:spMk id="56" creationId="{3EC2771A-F88B-3E1C-A157-8CB4E5ABE455}"/>
          </ac:spMkLst>
        </pc:spChg>
        <pc:spChg chg="del">
          <ac:chgData name="Graf Thomas, INI-NET-VNC-HCS" userId="487bc3e3-9ce7-4cdd-b7b4-8899ea88d289" providerId="ADAL" clId="{E3161F74-B0AA-40DC-ADA6-35AF10BC3613}" dt="2024-07-14T07:28:59.480" v="692" actId="478"/>
          <ac:spMkLst>
            <pc:docMk/>
            <pc:sldMk cId="2330400467" sldId="2145706246"/>
            <ac:spMk id="57" creationId="{AB52C6FF-C6A3-5120-838F-323561FB2EFB}"/>
          </ac:spMkLst>
        </pc:spChg>
        <pc:spChg chg="del">
          <ac:chgData name="Graf Thomas, INI-NET-VNC-HCS" userId="487bc3e3-9ce7-4cdd-b7b4-8899ea88d289" providerId="ADAL" clId="{E3161F74-B0AA-40DC-ADA6-35AF10BC3613}" dt="2024-07-14T07:28:59.480" v="692" actId="478"/>
          <ac:spMkLst>
            <pc:docMk/>
            <pc:sldMk cId="2330400467" sldId="2145706246"/>
            <ac:spMk id="58" creationId="{2EC15C90-850E-FA97-261E-510648771F94}"/>
          </ac:spMkLst>
        </pc:spChg>
        <pc:spChg chg="del">
          <ac:chgData name="Graf Thomas, INI-NET-VNC-HCS" userId="487bc3e3-9ce7-4cdd-b7b4-8899ea88d289" providerId="ADAL" clId="{E3161F74-B0AA-40DC-ADA6-35AF10BC3613}" dt="2024-07-14T07:28:59.480" v="692" actId="478"/>
          <ac:spMkLst>
            <pc:docMk/>
            <pc:sldMk cId="2330400467" sldId="2145706246"/>
            <ac:spMk id="59" creationId="{A8EF1CA1-6853-CBC2-05BA-14338FD724D0}"/>
          </ac:spMkLst>
        </pc:spChg>
        <pc:spChg chg="del">
          <ac:chgData name="Graf Thomas, INI-NET-VNC-HCS" userId="487bc3e3-9ce7-4cdd-b7b4-8899ea88d289" providerId="ADAL" clId="{E3161F74-B0AA-40DC-ADA6-35AF10BC3613}" dt="2024-07-14T07:28:59.480" v="692" actId="478"/>
          <ac:spMkLst>
            <pc:docMk/>
            <pc:sldMk cId="2330400467" sldId="2145706246"/>
            <ac:spMk id="64" creationId="{25AD0F57-18F4-C4DC-579C-78B3A14ACADB}"/>
          </ac:spMkLst>
        </pc:spChg>
        <pc:spChg chg="del">
          <ac:chgData name="Graf Thomas, INI-NET-VNC-HCS" userId="487bc3e3-9ce7-4cdd-b7b4-8899ea88d289" providerId="ADAL" clId="{E3161F74-B0AA-40DC-ADA6-35AF10BC3613}" dt="2024-07-14T07:28:59.480" v="692" actId="478"/>
          <ac:spMkLst>
            <pc:docMk/>
            <pc:sldMk cId="2330400467" sldId="2145706246"/>
            <ac:spMk id="65" creationId="{DF4404A2-8F3A-F107-C43C-367A64F2271A}"/>
          </ac:spMkLst>
        </pc:spChg>
        <pc:picChg chg="add mod">
          <ac:chgData name="Graf Thomas, INI-NET-VNC-HCS" userId="487bc3e3-9ce7-4cdd-b7b4-8899ea88d289" providerId="ADAL" clId="{E3161F74-B0AA-40DC-ADA6-35AF10BC3613}" dt="2024-07-14T07:29:14.048" v="695" actId="1076"/>
          <ac:picMkLst>
            <pc:docMk/>
            <pc:sldMk cId="2330400467" sldId="2145706246"/>
            <ac:picMk id="2" creationId="{A5C13DB2-576A-627A-2CF0-E34E57ACD645}"/>
          </ac:picMkLst>
        </pc:picChg>
        <pc:picChg chg="add mod">
          <ac:chgData name="Graf Thomas, INI-NET-VNC-HCS" userId="487bc3e3-9ce7-4cdd-b7b4-8899ea88d289" providerId="ADAL" clId="{E3161F74-B0AA-40DC-ADA6-35AF10BC3613}" dt="2024-07-14T07:36:32.717" v="978" actId="1036"/>
          <ac:picMkLst>
            <pc:docMk/>
            <pc:sldMk cId="2330400467" sldId="2145706246"/>
            <ac:picMk id="4" creationId="{5AF1EF20-85A6-C0BB-1636-29832B2C67BB}"/>
          </ac:picMkLst>
        </pc:picChg>
        <pc:picChg chg="add mod">
          <ac:chgData name="Graf Thomas, INI-NET-VNC-HCS" userId="487bc3e3-9ce7-4cdd-b7b4-8899ea88d289" providerId="ADAL" clId="{E3161F74-B0AA-40DC-ADA6-35AF10BC3613}" dt="2024-07-14T07:36:32.717" v="978" actId="1036"/>
          <ac:picMkLst>
            <pc:docMk/>
            <pc:sldMk cId="2330400467" sldId="2145706246"/>
            <ac:picMk id="8" creationId="{8D19947A-144F-1D80-B0F3-67F6872163F8}"/>
          </ac:picMkLst>
        </pc:picChg>
        <pc:picChg chg="add mod">
          <ac:chgData name="Graf Thomas, INI-NET-VNC-HCS" userId="487bc3e3-9ce7-4cdd-b7b4-8899ea88d289" providerId="ADAL" clId="{E3161F74-B0AA-40DC-ADA6-35AF10BC3613}" dt="2024-07-14T07:36:32.717" v="978" actId="1036"/>
          <ac:picMkLst>
            <pc:docMk/>
            <pc:sldMk cId="2330400467" sldId="2145706246"/>
            <ac:picMk id="12" creationId="{6F2C0F71-B41B-ECC1-F60C-F8D3A587CFA6}"/>
          </ac:picMkLst>
        </pc:picChg>
        <pc:picChg chg="add mod">
          <ac:chgData name="Graf Thomas, INI-NET-VNC-HCS" userId="487bc3e3-9ce7-4cdd-b7b4-8899ea88d289" providerId="ADAL" clId="{E3161F74-B0AA-40DC-ADA6-35AF10BC3613}" dt="2024-07-14T07:36:32.717" v="978" actId="1036"/>
          <ac:picMkLst>
            <pc:docMk/>
            <pc:sldMk cId="2330400467" sldId="2145706246"/>
            <ac:picMk id="14" creationId="{0CCB84FC-46E4-E41C-DF7F-CC97564CE789}"/>
          </ac:picMkLst>
        </pc:picChg>
        <pc:picChg chg="del">
          <ac:chgData name="Graf Thomas, INI-NET-VNC-HCS" userId="487bc3e3-9ce7-4cdd-b7b4-8899ea88d289" providerId="ADAL" clId="{E3161F74-B0AA-40DC-ADA6-35AF10BC3613}" dt="2024-07-14T07:29:02.363" v="693" actId="478"/>
          <ac:picMkLst>
            <pc:docMk/>
            <pc:sldMk cId="2330400467" sldId="2145706246"/>
            <ac:picMk id="43" creationId="{A884059B-71A3-A98E-1404-DB2B173037D7}"/>
          </ac:picMkLst>
        </pc:picChg>
        <pc:picChg chg="del">
          <ac:chgData name="Graf Thomas, INI-NET-VNC-HCS" userId="487bc3e3-9ce7-4cdd-b7b4-8899ea88d289" providerId="ADAL" clId="{E3161F74-B0AA-40DC-ADA6-35AF10BC3613}" dt="2024-07-14T07:28:59.480" v="692" actId="478"/>
          <ac:picMkLst>
            <pc:docMk/>
            <pc:sldMk cId="2330400467" sldId="2145706246"/>
            <ac:picMk id="51" creationId="{18646E87-9D16-8668-4D04-73BBFD743D8C}"/>
          </ac:picMkLst>
        </pc:picChg>
        <pc:picChg chg="del">
          <ac:chgData name="Graf Thomas, INI-NET-VNC-HCS" userId="487bc3e3-9ce7-4cdd-b7b4-8899ea88d289" providerId="ADAL" clId="{E3161F74-B0AA-40DC-ADA6-35AF10BC3613}" dt="2024-07-14T07:28:59.480" v="692" actId="478"/>
          <ac:picMkLst>
            <pc:docMk/>
            <pc:sldMk cId="2330400467" sldId="2145706246"/>
            <ac:picMk id="52" creationId="{3EED3FD3-DCD7-8025-E8C8-9704DF4F6585}"/>
          </ac:picMkLst>
        </pc:picChg>
        <pc:picChg chg="del">
          <ac:chgData name="Graf Thomas, INI-NET-VNC-HCS" userId="487bc3e3-9ce7-4cdd-b7b4-8899ea88d289" providerId="ADAL" clId="{E3161F74-B0AA-40DC-ADA6-35AF10BC3613}" dt="2024-07-14T07:28:59.480" v="692" actId="478"/>
          <ac:picMkLst>
            <pc:docMk/>
            <pc:sldMk cId="2330400467" sldId="2145706246"/>
            <ac:picMk id="53" creationId="{BC30914E-EC74-A7FF-00BE-70494A248E5C}"/>
          </ac:picMkLst>
        </pc:picChg>
        <pc:picChg chg="del">
          <ac:chgData name="Graf Thomas, INI-NET-VNC-HCS" userId="487bc3e3-9ce7-4cdd-b7b4-8899ea88d289" providerId="ADAL" clId="{E3161F74-B0AA-40DC-ADA6-35AF10BC3613}" dt="2024-07-14T07:29:02.363" v="693" actId="478"/>
          <ac:picMkLst>
            <pc:docMk/>
            <pc:sldMk cId="2330400467" sldId="2145706246"/>
            <ac:picMk id="60" creationId="{30386612-1AE1-2415-F759-F36131510432}"/>
          </ac:picMkLst>
        </pc:picChg>
        <pc:picChg chg="del">
          <ac:chgData name="Graf Thomas, INI-NET-VNC-HCS" userId="487bc3e3-9ce7-4cdd-b7b4-8899ea88d289" providerId="ADAL" clId="{E3161F74-B0AA-40DC-ADA6-35AF10BC3613}" dt="2024-07-14T07:29:02.363" v="693" actId="478"/>
          <ac:picMkLst>
            <pc:docMk/>
            <pc:sldMk cId="2330400467" sldId="2145706246"/>
            <ac:picMk id="61" creationId="{D78CB6B7-608F-80FD-730C-579244661205}"/>
          </ac:picMkLst>
        </pc:picChg>
        <pc:picChg chg="del">
          <ac:chgData name="Graf Thomas, INI-NET-VNC-HCS" userId="487bc3e3-9ce7-4cdd-b7b4-8899ea88d289" providerId="ADAL" clId="{E3161F74-B0AA-40DC-ADA6-35AF10BC3613}" dt="2024-07-14T07:29:02.363" v="693" actId="478"/>
          <ac:picMkLst>
            <pc:docMk/>
            <pc:sldMk cId="2330400467" sldId="2145706246"/>
            <ac:picMk id="62" creationId="{DF99A51F-71E7-C64F-BCA0-4392E1867E92}"/>
          </ac:picMkLst>
        </pc:picChg>
        <pc:picChg chg="del">
          <ac:chgData name="Graf Thomas, INI-NET-VNC-HCS" userId="487bc3e3-9ce7-4cdd-b7b4-8899ea88d289" providerId="ADAL" clId="{E3161F74-B0AA-40DC-ADA6-35AF10BC3613}" dt="2024-07-14T07:28:59.480" v="692" actId="478"/>
          <ac:picMkLst>
            <pc:docMk/>
            <pc:sldMk cId="2330400467" sldId="2145706246"/>
            <ac:picMk id="63" creationId="{CB9060F7-AFCB-2F13-6317-5839F4680767}"/>
          </ac:picMkLst>
        </pc:picChg>
        <pc:cxnChg chg="add mod">
          <ac:chgData name="Graf Thomas, INI-NET-VNC-HCS" userId="487bc3e3-9ce7-4cdd-b7b4-8899ea88d289" providerId="ADAL" clId="{E3161F74-B0AA-40DC-ADA6-35AF10BC3613}" dt="2024-07-14T07:36:32.717" v="978" actId="1036"/>
          <ac:cxnSpMkLst>
            <pc:docMk/>
            <pc:sldMk cId="2330400467" sldId="2145706246"/>
            <ac:cxnSpMk id="7" creationId="{5B3D2B6C-895B-B128-3B64-BE465DF3780C}"/>
          </ac:cxnSpMkLst>
        </pc:cxnChg>
        <pc:cxnChg chg="add mod">
          <ac:chgData name="Graf Thomas, INI-NET-VNC-HCS" userId="487bc3e3-9ce7-4cdd-b7b4-8899ea88d289" providerId="ADAL" clId="{E3161F74-B0AA-40DC-ADA6-35AF10BC3613}" dt="2024-07-14T07:36:32.717" v="978" actId="1036"/>
          <ac:cxnSpMkLst>
            <pc:docMk/>
            <pc:sldMk cId="2330400467" sldId="2145706246"/>
            <ac:cxnSpMk id="13" creationId="{9454752F-262C-79E4-AA8B-1ED9C821AA0C}"/>
          </ac:cxnSpMkLst>
        </pc:cxnChg>
      </pc:sldChg>
      <pc:sldChg chg="addSp delSp modSp add mod">
        <pc:chgData name="Graf Thomas, INI-NET-VNC-HCS" userId="487bc3e3-9ce7-4cdd-b7b4-8899ea88d289" providerId="ADAL" clId="{E3161F74-B0AA-40DC-ADA6-35AF10BC3613}" dt="2024-07-14T07:51:06.731" v="1353"/>
        <pc:sldMkLst>
          <pc:docMk/>
          <pc:sldMk cId="710622215" sldId="2145706247"/>
        </pc:sldMkLst>
        <pc:spChg chg="del">
          <ac:chgData name="Graf Thomas, INI-NET-VNC-HCS" userId="487bc3e3-9ce7-4cdd-b7b4-8899ea88d289" providerId="ADAL" clId="{E3161F74-B0AA-40DC-ADA6-35AF10BC3613}" dt="2024-07-14T07:51:03.665" v="1351" actId="478"/>
          <ac:spMkLst>
            <pc:docMk/>
            <pc:sldMk cId="710622215" sldId="2145706247"/>
            <ac:spMk id="3" creationId="{3C8F3124-91DA-E963-D267-A0B5C35FE58E}"/>
          </ac:spMkLst>
        </pc:spChg>
        <pc:spChg chg="mod">
          <ac:chgData name="Graf Thomas, INI-NET-VNC-HCS" userId="487bc3e3-9ce7-4cdd-b7b4-8899ea88d289" providerId="ADAL" clId="{E3161F74-B0AA-40DC-ADA6-35AF10BC3613}" dt="2024-07-14T07:49:46.733" v="1345" actId="6549"/>
          <ac:spMkLst>
            <pc:docMk/>
            <pc:sldMk cId="710622215" sldId="2145706247"/>
            <ac:spMk id="8" creationId="{B33E2DBB-1A1B-01BA-4800-C20DF81677B7}"/>
          </ac:spMkLst>
        </pc:spChg>
        <pc:spChg chg="del">
          <ac:chgData name="Graf Thomas, INI-NET-VNC-HCS" userId="487bc3e3-9ce7-4cdd-b7b4-8899ea88d289" providerId="ADAL" clId="{E3161F74-B0AA-40DC-ADA6-35AF10BC3613}" dt="2024-07-14T07:51:06.331" v="1352" actId="478"/>
          <ac:spMkLst>
            <pc:docMk/>
            <pc:sldMk cId="710622215" sldId="2145706247"/>
            <ac:spMk id="12" creationId="{E3697D27-282C-35E0-230C-860A02F74A75}"/>
          </ac:spMkLst>
        </pc:spChg>
        <pc:spChg chg="add mod">
          <ac:chgData name="Graf Thomas, INI-NET-VNC-HCS" userId="487bc3e3-9ce7-4cdd-b7b4-8899ea88d289" providerId="ADAL" clId="{E3161F74-B0AA-40DC-ADA6-35AF10BC3613}" dt="2024-07-14T07:51:06.731" v="1353"/>
          <ac:spMkLst>
            <pc:docMk/>
            <pc:sldMk cId="710622215" sldId="2145706247"/>
            <ac:spMk id="19" creationId="{C0B0B358-F380-1685-54B2-28156DD8C58B}"/>
          </ac:spMkLst>
        </pc:spChg>
        <pc:spChg chg="add mod">
          <ac:chgData name="Graf Thomas, INI-NET-VNC-HCS" userId="487bc3e3-9ce7-4cdd-b7b4-8899ea88d289" providerId="ADAL" clId="{E3161F74-B0AA-40DC-ADA6-35AF10BC3613}" dt="2024-07-14T07:51:06.731" v="1353"/>
          <ac:spMkLst>
            <pc:docMk/>
            <pc:sldMk cId="710622215" sldId="2145706247"/>
            <ac:spMk id="23" creationId="{6275C51E-5B93-B582-DF30-56138CC1BF00}"/>
          </ac:spMkLst>
        </pc:spChg>
        <pc:spChg chg="add mod">
          <ac:chgData name="Graf Thomas, INI-NET-VNC-HCS" userId="487bc3e3-9ce7-4cdd-b7b4-8899ea88d289" providerId="ADAL" clId="{E3161F74-B0AA-40DC-ADA6-35AF10BC3613}" dt="2024-07-14T07:51:06.731" v="1353"/>
          <ac:spMkLst>
            <pc:docMk/>
            <pc:sldMk cId="710622215" sldId="2145706247"/>
            <ac:spMk id="28" creationId="{10C3CDCC-83DF-7277-DB1E-1B0F522EFD5C}"/>
          </ac:spMkLst>
        </pc:spChg>
        <pc:spChg chg="mod">
          <ac:chgData name="Graf Thomas, INI-NET-VNC-HCS" userId="487bc3e3-9ce7-4cdd-b7b4-8899ea88d289" providerId="ADAL" clId="{E3161F74-B0AA-40DC-ADA6-35AF10BC3613}" dt="2024-07-14T07:50:57.593" v="1350" actId="1076"/>
          <ac:spMkLst>
            <pc:docMk/>
            <pc:sldMk cId="710622215" sldId="2145706247"/>
            <ac:spMk id="48" creationId="{A48B1DB7-BCDC-5D18-F56D-8A1447F1B8BA}"/>
          </ac:spMkLst>
        </pc:spChg>
        <pc:picChg chg="del">
          <ac:chgData name="Graf Thomas, INI-NET-VNC-HCS" userId="487bc3e3-9ce7-4cdd-b7b4-8899ea88d289" providerId="ADAL" clId="{E3161F74-B0AA-40DC-ADA6-35AF10BC3613}" dt="2024-07-14T07:49:11.416" v="1337" actId="478"/>
          <ac:picMkLst>
            <pc:docMk/>
            <pc:sldMk cId="710622215" sldId="2145706247"/>
            <ac:picMk id="2" creationId="{D825C094-E88A-4BA1-279E-1CA72BC2530A}"/>
          </ac:picMkLst>
        </pc:picChg>
        <pc:picChg chg="del">
          <ac:chgData name="Graf Thomas, INI-NET-VNC-HCS" userId="487bc3e3-9ce7-4cdd-b7b4-8899ea88d289" providerId="ADAL" clId="{E3161F74-B0AA-40DC-ADA6-35AF10BC3613}" dt="2024-07-14T07:51:03.665" v="1351" actId="478"/>
          <ac:picMkLst>
            <pc:docMk/>
            <pc:sldMk cId="710622215" sldId="2145706247"/>
            <ac:picMk id="4" creationId="{10F8C966-6C01-753F-643A-2477BDD8A6F2}"/>
          </ac:picMkLst>
        </pc:picChg>
        <pc:picChg chg="add mod">
          <ac:chgData name="Graf Thomas, INI-NET-VNC-HCS" userId="487bc3e3-9ce7-4cdd-b7b4-8899ea88d289" providerId="ADAL" clId="{E3161F74-B0AA-40DC-ADA6-35AF10BC3613}" dt="2024-07-14T07:49:22.665" v="1340" actId="1076"/>
          <ac:picMkLst>
            <pc:docMk/>
            <pc:sldMk cId="710622215" sldId="2145706247"/>
            <ac:picMk id="5" creationId="{CE037323-F485-1F7D-6F0A-B55000018911}"/>
          </ac:picMkLst>
        </pc:picChg>
        <pc:picChg chg="del">
          <ac:chgData name="Graf Thomas, INI-NET-VNC-HCS" userId="487bc3e3-9ce7-4cdd-b7b4-8899ea88d289" providerId="ADAL" clId="{E3161F74-B0AA-40DC-ADA6-35AF10BC3613}" dt="2024-07-14T07:51:03.665" v="1351" actId="478"/>
          <ac:picMkLst>
            <pc:docMk/>
            <pc:sldMk cId="710622215" sldId="2145706247"/>
            <ac:picMk id="7" creationId="{AD3975DB-4FBB-D7DA-7A90-56FDFF69B361}"/>
          </ac:picMkLst>
        </pc:picChg>
        <pc:picChg chg="del">
          <ac:chgData name="Graf Thomas, INI-NET-VNC-HCS" userId="487bc3e3-9ce7-4cdd-b7b4-8899ea88d289" providerId="ADAL" clId="{E3161F74-B0AA-40DC-ADA6-35AF10BC3613}" dt="2024-07-14T07:51:03.665" v="1351" actId="478"/>
          <ac:picMkLst>
            <pc:docMk/>
            <pc:sldMk cId="710622215" sldId="2145706247"/>
            <ac:picMk id="11" creationId="{79FFF6E1-635B-C793-3280-913CE5283BB5}"/>
          </ac:picMkLst>
        </pc:picChg>
        <pc:picChg chg="del">
          <ac:chgData name="Graf Thomas, INI-NET-VNC-HCS" userId="487bc3e3-9ce7-4cdd-b7b4-8899ea88d289" providerId="ADAL" clId="{E3161F74-B0AA-40DC-ADA6-35AF10BC3613}" dt="2024-07-14T07:51:03.665" v="1351" actId="478"/>
          <ac:picMkLst>
            <pc:docMk/>
            <pc:sldMk cId="710622215" sldId="2145706247"/>
            <ac:picMk id="13" creationId="{B713EA16-A802-5C95-C0DF-9E4D6664FBE0}"/>
          </ac:picMkLst>
        </pc:picChg>
        <pc:picChg chg="del">
          <ac:chgData name="Graf Thomas, INI-NET-VNC-HCS" userId="487bc3e3-9ce7-4cdd-b7b4-8899ea88d289" providerId="ADAL" clId="{E3161F74-B0AA-40DC-ADA6-35AF10BC3613}" dt="2024-07-14T07:51:03.665" v="1351" actId="478"/>
          <ac:picMkLst>
            <pc:docMk/>
            <pc:sldMk cId="710622215" sldId="2145706247"/>
            <ac:picMk id="14" creationId="{63B354C4-7243-6AA2-B8FA-CD57A828AB6E}"/>
          </ac:picMkLst>
        </pc:picChg>
        <pc:picChg chg="del">
          <ac:chgData name="Graf Thomas, INI-NET-VNC-HCS" userId="487bc3e3-9ce7-4cdd-b7b4-8899ea88d289" providerId="ADAL" clId="{E3161F74-B0AA-40DC-ADA6-35AF10BC3613}" dt="2024-07-14T07:51:03.665" v="1351" actId="478"/>
          <ac:picMkLst>
            <pc:docMk/>
            <pc:sldMk cId="710622215" sldId="2145706247"/>
            <ac:picMk id="15" creationId="{7D22CB75-8C5B-467F-E2AA-BEEE36A5FBFA}"/>
          </ac:picMkLst>
        </pc:picChg>
        <pc:picChg chg="del">
          <ac:chgData name="Graf Thomas, INI-NET-VNC-HCS" userId="487bc3e3-9ce7-4cdd-b7b4-8899ea88d289" providerId="ADAL" clId="{E3161F74-B0AA-40DC-ADA6-35AF10BC3613}" dt="2024-07-14T07:51:03.665" v="1351" actId="478"/>
          <ac:picMkLst>
            <pc:docMk/>
            <pc:sldMk cId="710622215" sldId="2145706247"/>
            <ac:picMk id="16" creationId="{404B3394-2B34-51E0-0ABA-DA01768C229E}"/>
          </ac:picMkLst>
        </pc:picChg>
        <pc:picChg chg="add mod">
          <ac:chgData name="Graf Thomas, INI-NET-VNC-HCS" userId="487bc3e3-9ce7-4cdd-b7b4-8899ea88d289" providerId="ADAL" clId="{E3161F74-B0AA-40DC-ADA6-35AF10BC3613}" dt="2024-07-14T07:51:06.731" v="1353"/>
          <ac:picMkLst>
            <pc:docMk/>
            <pc:sldMk cId="710622215" sldId="2145706247"/>
            <ac:picMk id="20" creationId="{B1BD11C8-18BC-7037-EDE7-760FAF3ED111}"/>
          </ac:picMkLst>
        </pc:picChg>
        <pc:picChg chg="add mod">
          <ac:chgData name="Graf Thomas, INI-NET-VNC-HCS" userId="487bc3e3-9ce7-4cdd-b7b4-8899ea88d289" providerId="ADAL" clId="{E3161F74-B0AA-40DC-ADA6-35AF10BC3613}" dt="2024-07-14T07:51:06.731" v="1353"/>
          <ac:picMkLst>
            <pc:docMk/>
            <pc:sldMk cId="710622215" sldId="2145706247"/>
            <ac:picMk id="21" creationId="{8FADD8A6-5EA5-F80B-B38C-6AD008F1D624}"/>
          </ac:picMkLst>
        </pc:picChg>
        <pc:picChg chg="add mod">
          <ac:chgData name="Graf Thomas, INI-NET-VNC-HCS" userId="487bc3e3-9ce7-4cdd-b7b4-8899ea88d289" providerId="ADAL" clId="{E3161F74-B0AA-40DC-ADA6-35AF10BC3613}" dt="2024-07-14T07:51:06.731" v="1353"/>
          <ac:picMkLst>
            <pc:docMk/>
            <pc:sldMk cId="710622215" sldId="2145706247"/>
            <ac:picMk id="22" creationId="{8CF6195A-5D87-095E-6F02-784D55BE78AB}"/>
          </ac:picMkLst>
        </pc:picChg>
        <pc:picChg chg="add mod">
          <ac:chgData name="Graf Thomas, INI-NET-VNC-HCS" userId="487bc3e3-9ce7-4cdd-b7b4-8899ea88d289" providerId="ADAL" clId="{E3161F74-B0AA-40DC-ADA6-35AF10BC3613}" dt="2024-07-14T07:51:06.731" v="1353"/>
          <ac:picMkLst>
            <pc:docMk/>
            <pc:sldMk cId="710622215" sldId="2145706247"/>
            <ac:picMk id="24" creationId="{1CB21777-465A-0359-082D-EF78EF350F1F}"/>
          </ac:picMkLst>
        </pc:picChg>
        <pc:picChg chg="add mod">
          <ac:chgData name="Graf Thomas, INI-NET-VNC-HCS" userId="487bc3e3-9ce7-4cdd-b7b4-8899ea88d289" providerId="ADAL" clId="{E3161F74-B0AA-40DC-ADA6-35AF10BC3613}" dt="2024-07-14T07:51:06.731" v="1353"/>
          <ac:picMkLst>
            <pc:docMk/>
            <pc:sldMk cId="710622215" sldId="2145706247"/>
            <ac:picMk id="25" creationId="{76541C7C-3EAC-E11D-1BFA-AB24210F9D11}"/>
          </ac:picMkLst>
        </pc:picChg>
        <pc:picChg chg="add mod">
          <ac:chgData name="Graf Thomas, INI-NET-VNC-HCS" userId="487bc3e3-9ce7-4cdd-b7b4-8899ea88d289" providerId="ADAL" clId="{E3161F74-B0AA-40DC-ADA6-35AF10BC3613}" dt="2024-07-14T07:51:06.731" v="1353"/>
          <ac:picMkLst>
            <pc:docMk/>
            <pc:sldMk cId="710622215" sldId="2145706247"/>
            <ac:picMk id="26" creationId="{BE70FAB3-BF1B-C1CC-E32D-98A2BAABC777}"/>
          </ac:picMkLst>
        </pc:picChg>
        <pc:picChg chg="add mod">
          <ac:chgData name="Graf Thomas, INI-NET-VNC-HCS" userId="487bc3e3-9ce7-4cdd-b7b4-8899ea88d289" providerId="ADAL" clId="{E3161F74-B0AA-40DC-ADA6-35AF10BC3613}" dt="2024-07-14T07:51:06.731" v="1353"/>
          <ac:picMkLst>
            <pc:docMk/>
            <pc:sldMk cId="710622215" sldId="2145706247"/>
            <ac:picMk id="27" creationId="{2EE4C1FC-0867-2EDD-728E-DAB916AA6006}"/>
          </ac:picMkLst>
        </pc:picChg>
        <pc:cxnChg chg="del">
          <ac:chgData name="Graf Thomas, INI-NET-VNC-HCS" userId="487bc3e3-9ce7-4cdd-b7b4-8899ea88d289" providerId="ADAL" clId="{E3161F74-B0AA-40DC-ADA6-35AF10BC3613}" dt="2024-07-14T07:49:14.234" v="1338" actId="478"/>
          <ac:cxnSpMkLst>
            <pc:docMk/>
            <pc:sldMk cId="710622215" sldId="2145706247"/>
            <ac:cxnSpMk id="9" creationId="{B92218F3-4104-7B4F-3E0B-47B7CE1992D4}"/>
          </ac:cxnSpMkLst>
        </pc:cxnChg>
        <pc:cxnChg chg="del">
          <ac:chgData name="Graf Thomas, INI-NET-VNC-HCS" userId="487bc3e3-9ce7-4cdd-b7b4-8899ea88d289" providerId="ADAL" clId="{E3161F74-B0AA-40DC-ADA6-35AF10BC3613}" dt="2024-07-14T07:49:14.234" v="1338" actId="478"/>
          <ac:cxnSpMkLst>
            <pc:docMk/>
            <pc:sldMk cId="710622215" sldId="2145706247"/>
            <ac:cxnSpMk id="10" creationId="{275139BB-CAF0-5312-53A2-4FE7C209F50A}"/>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7" creationId="{2E8596CB-E477-3593-DC09-8C18E2574B2C}"/>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8" creationId="{4B1A7D75-0453-EA57-77A7-8B93DC299BFC}"/>
          </ac:cxnSpMkLst>
        </pc:cxnChg>
      </pc:sldChg>
      <pc:sldChg chg="addSp delSp modSp add mod">
        <pc:chgData name="Graf Thomas, INI-NET-VNC-HCS" userId="487bc3e3-9ce7-4cdd-b7b4-8899ea88d289" providerId="ADAL" clId="{E3161F74-B0AA-40DC-ADA6-35AF10BC3613}" dt="2024-07-14T08:03:04.608" v="1663" actId="12"/>
        <pc:sldMkLst>
          <pc:docMk/>
          <pc:sldMk cId="203592915" sldId="2145706248"/>
        </pc:sldMkLst>
        <pc:spChg chg="add mod">
          <ac:chgData name="Graf Thomas, INI-NET-VNC-HCS" userId="487bc3e3-9ce7-4cdd-b7b4-8899ea88d289" providerId="ADAL" clId="{E3161F74-B0AA-40DC-ADA6-35AF10BC3613}" dt="2024-07-14T08:02:12.770" v="1659" actId="14100"/>
          <ac:spMkLst>
            <pc:docMk/>
            <pc:sldMk cId="203592915" sldId="2145706248"/>
            <ac:spMk id="2" creationId="{D20827C3-9ACB-5BD9-AF5E-5FD0BA6DAA61}"/>
          </ac:spMkLst>
        </pc:spChg>
        <pc:spChg chg="add mod">
          <ac:chgData name="Graf Thomas, INI-NET-VNC-HCS" userId="487bc3e3-9ce7-4cdd-b7b4-8899ea88d289" providerId="ADAL" clId="{E3161F74-B0AA-40DC-ADA6-35AF10BC3613}" dt="2024-07-14T08:02:08.892" v="1658" actId="14100"/>
          <ac:spMkLst>
            <pc:docMk/>
            <pc:sldMk cId="203592915" sldId="2145706248"/>
            <ac:spMk id="3" creationId="{7AFFAB9B-D3A4-9F0D-7DDA-44173D37771D}"/>
          </ac:spMkLst>
        </pc:spChg>
        <pc:spChg chg="add mod">
          <ac:chgData name="Graf Thomas, INI-NET-VNC-HCS" userId="487bc3e3-9ce7-4cdd-b7b4-8899ea88d289" providerId="ADAL" clId="{E3161F74-B0AA-40DC-ADA6-35AF10BC3613}" dt="2024-07-14T08:02:26.147" v="1660" actId="1076"/>
          <ac:spMkLst>
            <pc:docMk/>
            <pc:sldMk cId="203592915" sldId="2145706248"/>
            <ac:spMk id="4" creationId="{75D43E75-002A-CEF2-3099-891BF5AA55A5}"/>
          </ac:spMkLst>
        </pc:spChg>
        <pc:spChg chg="del">
          <ac:chgData name="Graf Thomas, INI-NET-VNC-HCS" userId="487bc3e3-9ce7-4cdd-b7b4-8899ea88d289" providerId="ADAL" clId="{E3161F74-B0AA-40DC-ADA6-35AF10BC3613}" dt="2024-07-14T07:53:02.387" v="1403" actId="478"/>
          <ac:spMkLst>
            <pc:docMk/>
            <pc:sldMk cId="203592915" sldId="2145706248"/>
            <ac:spMk id="5" creationId="{244AEEBB-8E64-9D80-4802-15AB23D03E53}"/>
          </ac:spMkLst>
        </pc:spChg>
        <pc:spChg chg="add mod">
          <ac:chgData name="Graf Thomas, INI-NET-VNC-HCS" userId="487bc3e3-9ce7-4cdd-b7b4-8899ea88d289" providerId="ADAL" clId="{E3161F74-B0AA-40DC-ADA6-35AF10BC3613}" dt="2024-07-14T08:02:29.322" v="1661" actId="1076"/>
          <ac:spMkLst>
            <pc:docMk/>
            <pc:sldMk cId="203592915" sldId="2145706248"/>
            <ac:spMk id="7" creationId="{EDDBA991-7DE5-B570-03DC-216A0F0CC38A}"/>
          </ac:spMkLst>
        </pc:spChg>
        <pc:spChg chg="del">
          <ac:chgData name="Graf Thomas, INI-NET-VNC-HCS" userId="487bc3e3-9ce7-4cdd-b7b4-8899ea88d289" providerId="ADAL" clId="{E3161F74-B0AA-40DC-ADA6-35AF10BC3613}" dt="2024-07-14T07:53:02.387" v="1403" actId="478"/>
          <ac:spMkLst>
            <pc:docMk/>
            <pc:sldMk cId="203592915" sldId="2145706248"/>
            <ac:spMk id="17" creationId="{97844B26-F6D4-1F99-A525-6E56DCFFBB1E}"/>
          </ac:spMkLst>
        </pc:spChg>
        <pc:spChg chg="del">
          <ac:chgData name="Graf Thomas, INI-NET-VNC-HCS" userId="487bc3e3-9ce7-4cdd-b7b4-8899ea88d289" providerId="ADAL" clId="{E3161F74-B0AA-40DC-ADA6-35AF10BC3613}" dt="2024-07-14T07:53:02.387" v="1403" actId="478"/>
          <ac:spMkLst>
            <pc:docMk/>
            <pc:sldMk cId="203592915" sldId="2145706248"/>
            <ac:spMk id="18" creationId="{2B722B1A-8711-66FB-747B-037B20B19E85}"/>
          </ac:spMkLst>
        </pc:spChg>
        <pc:spChg chg="del">
          <ac:chgData name="Graf Thomas, INI-NET-VNC-HCS" userId="487bc3e3-9ce7-4cdd-b7b4-8899ea88d289" providerId="ADAL" clId="{E3161F74-B0AA-40DC-ADA6-35AF10BC3613}" dt="2024-07-14T07:53:02.387" v="1403" actId="478"/>
          <ac:spMkLst>
            <pc:docMk/>
            <pc:sldMk cId="203592915" sldId="2145706248"/>
            <ac:spMk id="19" creationId="{29070658-29D7-C93F-6BB1-152A712B3735}"/>
          </ac:spMkLst>
        </pc:spChg>
        <pc:spChg chg="mod">
          <ac:chgData name="Graf Thomas, INI-NET-VNC-HCS" userId="487bc3e3-9ce7-4cdd-b7b4-8899ea88d289" providerId="ADAL" clId="{E3161F74-B0AA-40DC-ADA6-35AF10BC3613}" dt="2024-07-14T08:03:04.608" v="1663" actId="12"/>
          <ac:spMkLst>
            <pc:docMk/>
            <pc:sldMk cId="203592915" sldId="2145706248"/>
            <ac:spMk id="21" creationId="{45E3698B-AA42-27BC-B206-D124A1AE89DE}"/>
          </ac:spMkLst>
        </pc:spChg>
        <pc:picChg chg="add mod">
          <ac:chgData name="Graf Thomas, INI-NET-VNC-HCS" userId="487bc3e3-9ce7-4cdd-b7b4-8899ea88d289" providerId="ADAL" clId="{E3161F74-B0AA-40DC-ADA6-35AF10BC3613}" dt="2024-07-14T08:02:26.147" v="1660" actId="1076"/>
          <ac:picMkLst>
            <pc:docMk/>
            <pc:sldMk cId="203592915" sldId="2145706248"/>
            <ac:picMk id="8" creationId="{FC7E05E9-1679-03AD-2D45-5098030D0926}"/>
          </ac:picMkLst>
        </pc:picChg>
        <pc:picChg chg="del">
          <ac:chgData name="Graf Thomas, INI-NET-VNC-HCS" userId="487bc3e3-9ce7-4cdd-b7b4-8899ea88d289" providerId="ADAL" clId="{E3161F74-B0AA-40DC-ADA6-35AF10BC3613}" dt="2024-07-14T07:53:02.387" v="1403" actId="478"/>
          <ac:picMkLst>
            <pc:docMk/>
            <pc:sldMk cId="203592915" sldId="2145706248"/>
            <ac:picMk id="22" creationId="{404B5059-813C-59D9-35B0-EF18928D152A}"/>
          </ac:picMkLst>
        </pc:picChg>
        <pc:picChg chg="del">
          <ac:chgData name="Graf Thomas, INI-NET-VNC-HCS" userId="487bc3e3-9ce7-4cdd-b7b4-8899ea88d289" providerId="ADAL" clId="{E3161F74-B0AA-40DC-ADA6-35AF10BC3613}" dt="2024-07-14T07:51:36.111" v="1355" actId="478"/>
          <ac:picMkLst>
            <pc:docMk/>
            <pc:sldMk cId="203592915" sldId="2145706248"/>
            <ac:picMk id="23" creationId="{3848A27D-A070-BB4D-D56F-40F3C20D2AA7}"/>
          </ac:picMkLst>
        </pc:picChg>
      </pc:sldChg>
      <pc:sldChg chg="modSp add del mod">
        <pc:chgData name="Graf Thomas, INI-NET-VNC-HCS" userId="487bc3e3-9ce7-4cdd-b7b4-8899ea88d289" providerId="ADAL" clId="{E3161F74-B0AA-40DC-ADA6-35AF10BC3613}" dt="2024-07-14T07:39:42.123" v="1059" actId="47"/>
        <pc:sldMkLst>
          <pc:docMk/>
          <pc:sldMk cId="2410019349" sldId="2145706249"/>
        </pc:sldMkLst>
        <pc:spChg chg="mod">
          <ac:chgData name="Graf Thomas, INI-NET-VNC-HCS" userId="487bc3e3-9ce7-4cdd-b7b4-8899ea88d289" providerId="ADAL" clId="{E3161F74-B0AA-40DC-ADA6-35AF10BC3613}" dt="2024-07-14T07:26:07.272" v="626" actId="27636"/>
          <ac:spMkLst>
            <pc:docMk/>
            <pc:sldMk cId="2410019349" sldId="2145706249"/>
            <ac:spMk id="8" creationId="{FBE5644D-AF4A-4732-B3D8-A1D12FF5A0D4}"/>
          </ac:spMkLst>
        </pc:spChg>
      </pc:sldChg>
      <pc:sldChg chg="add del">
        <pc:chgData name="Graf Thomas, INI-NET-VNC-HCS" userId="487bc3e3-9ce7-4cdd-b7b4-8899ea88d289" providerId="ADAL" clId="{E3161F74-B0AA-40DC-ADA6-35AF10BC3613}" dt="2024-07-14T07:54:55.461" v="1524" actId="47"/>
        <pc:sldMkLst>
          <pc:docMk/>
          <pc:sldMk cId="316318159" sldId="2145706252"/>
        </pc:sldMkLst>
      </pc:sldChg>
      <pc:sldChg chg="add del">
        <pc:chgData name="Graf Thomas, INI-NET-VNC-HCS" userId="487bc3e3-9ce7-4cdd-b7b4-8899ea88d289" providerId="ADAL" clId="{E3161F74-B0AA-40DC-ADA6-35AF10BC3613}" dt="2024-07-14T07:51:16.554" v="1354" actId="47"/>
        <pc:sldMkLst>
          <pc:docMk/>
          <pc:sldMk cId="3802501497" sldId="2145706254"/>
        </pc:sldMkLst>
      </pc:sldChg>
      <pc:sldChg chg="modSp add del mod">
        <pc:chgData name="Graf Thomas, INI-NET-VNC-HCS" userId="487bc3e3-9ce7-4cdd-b7b4-8899ea88d289" providerId="ADAL" clId="{E3161F74-B0AA-40DC-ADA6-35AF10BC3613}" dt="2024-07-14T07:48:49.693" v="1336" actId="47"/>
        <pc:sldMkLst>
          <pc:docMk/>
          <pc:sldMk cId="3272389013" sldId="2145706255"/>
        </pc:sldMkLst>
        <pc:spChg chg="mod">
          <ac:chgData name="Graf Thomas, INI-NET-VNC-HCS" userId="487bc3e3-9ce7-4cdd-b7b4-8899ea88d289" providerId="ADAL" clId="{E3161F74-B0AA-40DC-ADA6-35AF10BC3613}" dt="2024-07-14T07:26:07.296" v="629" actId="27636"/>
          <ac:spMkLst>
            <pc:docMk/>
            <pc:sldMk cId="3272389013" sldId="2145706255"/>
            <ac:spMk id="8" creationId="{FBE5644D-AF4A-4732-B3D8-A1D12FF5A0D4}"/>
          </ac:spMkLst>
        </pc:spChg>
      </pc:sldChg>
      <pc:sldChg chg="modSp add del mod">
        <pc:chgData name="Graf Thomas, INI-NET-VNC-HCS" userId="487bc3e3-9ce7-4cdd-b7b4-8899ea88d289" providerId="ADAL" clId="{E3161F74-B0AA-40DC-ADA6-35AF10BC3613}" dt="2024-07-14T07:45:42.785" v="1191" actId="47"/>
        <pc:sldMkLst>
          <pc:docMk/>
          <pc:sldMk cId="1690469041" sldId="2145706256"/>
        </pc:sldMkLst>
        <pc:spChg chg="mod">
          <ac:chgData name="Graf Thomas, INI-NET-VNC-HCS" userId="487bc3e3-9ce7-4cdd-b7b4-8899ea88d289" providerId="ADAL" clId="{E3161F74-B0AA-40DC-ADA6-35AF10BC3613}" dt="2024-07-14T07:26:07.283" v="628" actId="27636"/>
          <ac:spMkLst>
            <pc:docMk/>
            <pc:sldMk cId="1690469041" sldId="2145706256"/>
            <ac:spMk id="8" creationId="{FBE5644D-AF4A-4732-B3D8-A1D12FF5A0D4}"/>
          </ac:spMkLst>
        </pc:spChg>
      </pc:sldChg>
      <pc:sldChg chg="modSp add del mod">
        <pc:chgData name="Graf Thomas, INI-NET-VNC-HCS" userId="487bc3e3-9ce7-4cdd-b7b4-8899ea88d289" providerId="ADAL" clId="{E3161F74-B0AA-40DC-ADA6-35AF10BC3613}" dt="2024-07-14T07:40:37.478" v="1064" actId="47"/>
        <pc:sldMkLst>
          <pc:docMk/>
          <pc:sldMk cId="3624475416" sldId="2145706257"/>
        </pc:sldMkLst>
        <pc:spChg chg="mod">
          <ac:chgData name="Graf Thomas, INI-NET-VNC-HCS" userId="487bc3e3-9ce7-4cdd-b7b4-8899ea88d289" providerId="ADAL" clId="{E3161F74-B0AA-40DC-ADA6-35AF10BC3613}" dt="2024-07-14T07:26:07.279" v="627" actId="27636"/>
          <ac:spMkLst>
            <pc:docMk/>
            <pc:sldMk cId="3624475416" sldId="2145706257"/>
            <ac:spMk id="8" creationId="{FBE5644D-AF4A-4732-B3D8-A1D12FF5A0D4}"/>
          </ac:spMkLst>
        </pc:spChg>
      </pc:sldChg>
      <pc:sldChg chg="add ord">
        <pc:chgData name="Graf Thomas, INI-NET-VNC-HCS" userId="487bc3e3-9ce7-4cdd-b7b4-8899ea88d289" providerId="ADAL" clId="{E3161F74-B0AA-40DC-ADA6-35AF10BC3613}" dt="2024-07-14T06:38:49.991" v="70"/>
        <pc:sldMkLst>
          <pc:docMk/>
          <pc:sldMk cId="3137402905" sldId="2145706263"/>
        </pc:sldMkLst>
      </pc:sldChg>
      <pc:sldChg chg="add">
        <pc:chgData name="Graf Thomas, INI-NET-VNC-HCS" userId="487bc3e3-9ce7-4cdd-b7b4-8899ea88d289" providerId="ADAL" clId="{E3161F74-B0AA-40DC-ADA6-35AF10BC3613}" dt="2024-07-14T06:38:17.156" v="67"/>
        <pc:sldMkLst>
          <pc:docMk/>
          <pc:sldMk cId="293169079" sldId="2145706264"/>
        </pc:sldMkLst>
      </pc:sldChg>
      <pc:sldChg chg="add">
        <pc:chgData name="Graf Thomas, INI-NET-VNC-HCS" userId="487bc3e3-9ce7-4cdd-b7b4-8899ea88d289" providerId="ADAL" clId="{E3161F74-B0AA-40DC-ADA6-35AF10BC3613}" dt="2024-07-14T06:38:17.156" v="67"/>
        <pc:sldMkLst>
          <pc:docMk/>
          <pc:sldMk cId="791412387" sldId="2145706265"/>
        </pc:sldMkLst>
      </pc:sldChg>
      <pc:sldChg chg="add">
        <pc:chgData name="Graf Thomas, INI-NET-VNC-HCS" userId="487bc3e3-9ce7-4cdd-b7b4-8899ea88d289" providerId="ADAL" clId="{E3161F74-B0AA-40DC-ADA6-35AF10BC3613}" dt="2024-07-14T06:45:55.378" v="74"/>
        <pc:sldMkLst>
          <pc:docMk/>
          <pc:sldMk cId="1336863920" sldId="2145706266"/>
        </pc:sldMkLst>
      </pc:sldChg>
      <pc:sldChg chg="add">
        <pc:chgData name="Graf Thomas, INI-NET-VNC-HCS" userId="487bc3e3-9ce7-4cdd-b7b4-8899ea88d289" providerId="ADAL" clId="{E3161F74-B0AA-40DC-ADA6-35AF10BC3613}" dt="2024-07-14T06:38:46.613" v="68"/>
        <pc:sldMkLst>
          <pc:docMk/>
          <pc:sldMk cId="1302469771" sldId="2145706275"/>
        </pc:sldMkLst>
      </pc:sldChg>
      <pc:sldChg chg="modSp add mod">
        <pc:chgData name="Graf Thomas, INI-NET-VNC-HCS" userId="487bc3e3-9ce7-4cdd-b7b4-8899ea88d289" providerId="ADAL" clId="{E3161F74-B0AA-40DC-ADA6-35AF10BC3613}" dt="2024-07-14T06:56:21.522" v="79"/>
        <pc:sldMkLst>
          <pc:docMk/>
          <pc:sldMk cId="2378737000" sldId="2145706280"/>
        </pc:sldMkLst>
        <pc:spChg chg="mod">
          <ac:chgData name="Graf Thomas, INI-NET-VNC-HCS" userId="487bc3e3-9ce7-4cdd-b7b4-8899ea88d289" providerId="ADAL" clId="{E3161F74-B0AA-40DC-ADA6-35AF10BC3613}" dt="2024-07-14T06:56:21.522" v="79"/>
          <ac:spMkLst>
            <pc:docMk/>
            <pc:sldMk cId="2378737000" sldId="2145706280"/>
            <ac:spMk id="18" creationId="{7FEC644C-5BBA-9D8A-F77B-29E3C855E4BF}"/>
          </ac:spMkLst>
        </pc:spChg>
      </pc:sldChg>
      <pc:sldChg chg="delSp add mod">
        <pc:chgData name="Graf Thomas, INI-NET-VNC-HCS" userId="487bc3e3-9ce7-4cdd-b7b4-8899ea88d289" providerId="ADAL" clId="{E3161F74-B0AA-40DC-ADA6-35AF10BC3613}" dt="2024-07-14T06:46:20.699" v="77" actId="478"/>
        <pc:sldMkLst>
          <pc:docMk/>
          <pc:sldMk cId="2347697025" sldId="2145706284"/>
        </pc:sldMkLst>
        <pc:spChg chg="del">
          <ac:chgData name="Graf Thomas, INI-NET-VNC-HCS" userId="487bc3e3-9ce7-4cdd-b7b4-8899ea88d289" providerId="ADAL" clId="{E3161F74-B0AA-40DC-ADA6-35AF10BC3613}" dt="2024-07-14T06:46:18.772" v="75" actId="478"/>
          <ac:spMkLst>
            <pc:docMk/>
            <pc:sldMk cId="2347697025" sldId="2145706284"/>
            <ac:spMk id="5" creationId="{2FA16CA0-B5C5-D597-7EE9-B043AE34C049}"/>
          </ac:spMkLst>
        </pc:spChg>
        <pc:spChg chg="del">
          <ac:chgData name="Graf Thomas, INI-NET-VNC-HCS" userId="487bc3e3-9ce7-4cdd-b7b4-8899ea88d289" providerId="ADAL" clId="{E3161F74-B0AA-40DC-ADA6-35AF10BC3613}" dt="2024-07-14T06:46:19.923" v="76" actId="478"/>
          <ac:spMkLst>
            <pc:docMk/>
            <pc:sldMk cId="2347697025" sldId="2145706284"/>
            <ac:spMk id="7" creationId="{0AE08E15-A4B9-E553-556E-EBBE1E8B71D0}"/>
          </ac:spMkLst>
        </pc:spChg>
        <pc:spChg chg="del">
          <ac:chgData name="Graf Thomas, INI-NET-VNC-HCS" userId="487bc3e3-9ce7-4cdd-b7b4-8899ea88d289" providerId="ADAL" clId="{E3161F74-B0AA-40DC-ADA6-35AF10BC3613}" dt="2024-07-14T06:46:20.699" v="77" actId="478"/>
          <ac:spMkLst>
            <pc:docMk/>
            <pc:sldMk cId="2347697025" sldId="2145706284"/>
            <ac:spMk id="8" creationId="{6F4C610A-5ADC-21A3-9CA4-F85A3ADC7AC8}"/>
          </ac:spMkLst>
        </pc:spChg>
      </pc:sldChg>
      <pc:sldChg chg="delSp modSp add mod ord">
        <pc:chgData name="Graf Thomas, INI-NET-VNC-HCS" userId="487bc3e3-9ce7-4cdd-b7b4-8899ea88d289" providerId="ADAL" clId="{E3161F74-B0AA-40DC-ADA6-35AF10BC3613}" dt="2024-07-14T07:13:33.048" v="619" actId="20577"/>
        <pc:sldMkLst>
          <pc:docMk/>
          <pc:sldMk cId="2776042094" sldId="2145706285"/>
        </pc:sldMkLst>
        <pc:spChg chg="mod">
          <ac:chgData name="Graf Thomas, INI-NET-VNC-HCS" userId="487bc3e3-9ce7-4cdd-b7b4-8899ea88d289" providerId="ADAL" clId="{E3161F74-B0AA-40DC-ADA6-35AF10BC3613}" dt="2024-07-14T06:59:47.220" v="227" actId="20577"/>
          <ac:spMkLst>
            <pc:docMk/>
            <pc:sldMk cId="2776042094" sldId="2145706285"/>
            <ac:spMk id="2" creationId="{FF20F271-6F0D-4AC0-BB1D-F5C338165C13}"/>
          </ac:spMkLst>
        </pc:spChg>
        <pc:spChg chg="mod">
          <ac:chgData name="Graf Thomas, INI-NET-VNC-HCS" userId="487bc3e3-9ce7-4cdd-b7b4-8899ea88d289" providerId="ADAL" clId="{E3161F74-B0AA-40DC-ADA6-35AF10BC3613}" dt="2024-07-14T07:06:22.969" v="383"/>
          <ac:spMkLst>
            <pc:docMk/>
            <pc:sldMk cId="2776042094" sldId="2145706285"/>
            <ac:spMk id="3" creationId="{29C0DFD4-432D-4B0C-93DF-790441DCF5B9}"/>
          </ac:spMkLst>
        </pc:spChg>
        <pc:spChg chg="mod">
          <ac:chgData name="Graf Thomas, INI-NET-VNC-HCS" userId="487bc3e3-9ce7-4cdd-b7b4-8899ea88d289" providerId="ADAL" clId="{E3161F74-B0AA-40DC-ADA6-35AF10BC3613}" dt="2024-07-14T07:13:33.048" v="619" actId="20577"/>
          <ac:spMkLst>
            <pc:docMk/>
            <pc:sldMk cId="2776042094" sldId="2145706285"/>
            <ac:spMk id="15" creationId="{81CF2E6B-29BB-3B8F-A4FD-C8E8A73C2282}"/>
          </ac:spMkLst>
        </pc:spChg>
        <pc:cxnChg chg="mod">
          <ac:chgData name="Graf Thomas, INI-NET-VNC-HCS" userId="487bc3e3-9ce7-4cdd-b7b4-8899ea88d289" providerId="ADAL" clId="{E3161F74-B0AA-40DC-ADA6-35AF10BC3613}" dt="2024-07-14T07:06:27.851" v="384" actId="14100"/>
          <ac:cxnSpMkLst>
            <pc:docMk/>
            <pc:sldMk cId="2776042094" sldId="2145706285"/>
            <ac:cxnSpMk id="7" creationId="{83D1F104-0557-6EDA-760C-077B5A18DE98}"/>
          </ac:cxnSpMkLst>
        </pc:cxnChg>
        <pc:cxnChg chg="mod">
          <ac:chgData name="Graf Thomas, INI-NET-VNC-HCS" userId="487bc3e3-9ce7-4cdd-b7b4-8899ea88d289" providerId="ADAL" clId="{E3161F74-B0AA-40DC-ADA6-35AF10BC3613}" dt="2024-07-14T07:06:40.487" v="388" actId="14100"/>
          <ac:cxnSpMkLst>
            <pc:docMk/>
            <pc:sldMk cId="2776042094" sldId="2145706285"/>
            <ac:cxnSpMk id="8" creationId="{A9F78903-BA21-F9F1-17B7-8DE3FB96072C}"/>
          </ac:cxnSpMkLst>
        </pc:cxnChg>
        <pc:cxnChg chg="mod">
          <ac:chgData name="Graf Thomas, INI-NET-VNC-HCS" userId="487bc3e3-9ce7-4cdd-b7b4-8899ea88d289" providerId="ADAL" clId="{E3161F74-B0AA-40DC-ADA6-35AF10BC3613}" dt="2024-07-14T07:06:43.442" v="389" actId="14100"/>
          <ac:cxnSpMkLst>
            <pc:docMk/>
            <pc:sldMk cId="2776042094" sldId="2145706285"/>
            <ac:cxnSpMk id="10" creationId="{012D5E84-A66D-A11B-4F94-5E8AB181E3F5}"/>
          </ac:cxnSpMkLst>
        </pc:cxnChg>
        <pc:cxnChg chg="del">
          <ac:chgData name="Graf Thomas, INI-NET-VNC-HCS" userId="487bc3e3-9ce7-4cdd-b7b4-8899ea88d289" providerId="ADAL" clId="{E3161F74-B0AA-40DC-ADA6-35AF10BC3613}" dt="2024-07-14T07:06:46.455" v="390" actId="478"/>
          <ac:cxnSpMkLst>
            <pc:docMk/>
            <pc:sldMk cId="2776042094" sldId="2145706285"/>
            <ac:cxnSpMk id="12" creationId="{203D64F1-8CC7-7EF0-8739-0387E0C463A0}"/>
          </ac:cxnSpMkLst>
        </pc:cxnChg>
        <pc:cxnChg chg="del">
          <ac:chgData name="Graf Thomas, INI-NET-VNC-HCS" userId="487bc3e3-9ce7-4cdd-b7b4-8899ea88d289" providerId="ADAL" clId="{E3161F74-B0AA-40DC-ADA6-35AF10BC3613}" dt="2024-07-14T07:06:46.455" v="390" actId="478"/>
          <ac:cxnSpMkLst>
            <pc:docMk/>
            <pc:sldMk cId="2776042094" sldId="2145706285"/>
            <ac:cxnSpMk id="13" creationId="{A55AE0AF-510C-910F-E4AC-8ADE75D1ED34}"/>
          </ac:cxnSpMkLst>
        </pc:cxnChg>
        <pc:cxnChg chg="mod">
          <ac:chgData name="Graf Thomas, INI-NET-VNC-HCS" userId="487bc3e3-9ce7-4cdd-b7b4-8899ea88d289" providerId="ADAL" clId="{E3161F74-B0AA-40DC-ADA6-35AF10BC3613}" dt="2024-07-14T07:06:37.522" v="387" actId="14100"/>
          <ac:cxnSpMkLst>
            <pc:docMk/>
            <pc:sldMk cId="2776042094" sldId="2145706285"/>
            <ac:cxnSpMk id="21" creationId="{DCC108B7-3175-A51B-346A-B1C4613E8455}"/>
          </ac:cxnSpMkLst>
        </pc:cxnChg>
      </pc:sldChg>
      <pc:sldChg chg="add del">
        <pc:chgData name="Graf Thomas, INI-NET-VNC-HCS" userId="487bc3e3-9ce7-4cdd-b7b4-8899ea88d289" providerId="ADAL" clId="{E3161F74-B0AA-40DC-ADA6-35AF10BC3613}" dt="2024-07-14T07:39:42.123" v="1059" actId="47"/>
        <pc:sldMkLst>
          <pc:docMk/>
          <pc:sldMk cId="3254418192" sldId="2145706286"/>
        </pc:sldMkLst>
      </pc:sldChg>
      <pc:sldChg chg="addSp delSp modSp add mod">
        <pc:chgData name="Graf Thomas, INI-NET-VNC-HCS" userId="487bc3e3-9ce7-4cdd-b7b4-8899ea88d289" providerId="ADAL" clId="{E3161F74-B0AA-40DC-ADA6-35AF10BC3613}" dt="2024-07-14T07:39:21.367" v="1057" actId="1036"/>
        <pc:sldMkLst>
          <pc:docMk/>
          <pc:sldMk cId="1587501498" sldId="2145706287"/>
        </pc:sldMkLst>
        <pc:spChg chg="del">
          <ac:chgData name="Graf Thomas, INI-NET-VNC-HCS" userId="487bc3e3-9ce7-4cdd-b7b4-8899ea88d289" providerId="ADAL" clId="{E3161F74-B0AA-40DC-ADA6-35AF10BC3613}" dt="2024-07-14T07:38:15.806" v="981" actId="478"/>
          <ac:spMkLst>
            <pc:docMk/>
            <pc:sldMk cId="1587501498" sldId="2145706287"/>
            <ac:spMk id="3" creationId="{8958B48B-ADF9-4C08-071D-E75646D4DABC}"/>
          </ac:spMkLst>
        </pc:spChg>
        <pc:spChg chg="add mod">
          <ac:chgData name="Graf Thomas, INI-NET-VNC-HCS" userId="487bc3e3-9ce7-4cdd-b7b4-8899ea88d289" providerId="ADAL" clId="{E3161F74-B0AA-40DC-ADA6-35AF10BC3613}" dt="2024-07-14T07:39:21.367" v="1057" actId="1036"/>
          <ac:spMkLst>
            <pc:docMk/>
            <pc:sldMk cId="1587501498" sldId="2145706287"/>
            <ac:spMk id="5" creationId="{C6613F22-6DD1-56DE-935E-2C90E8C8CC57}"/>
          </ac:spMkLst>
        </pc:spChg>
        <pc:spChg chg="del">
          <ac:chgData name="Graf Thomas, INI-NET-VNC-HCS" userId="487bc3e3-9ce7-4cdd-b7b4-8899ea88d289" providerId="ADAL" clId="{E3161F74-B0AA-40DC-ADA6-35AF10BC3613}" dt="2024-07-14T07:38:11.866" v="980" actId="478"/>
          <ac:spMkLst>
            <pc:docMk/>
            <pc:sldMk cId="1587501498" sldId="2145706287"/>
            <ac:spMk id="9" creationId="{EB8EE06A-9C5A-1497-6091-14DF67137B7E}"/>
          </ac:spMkLst>
        </pc:spChg>
        <pc:spChg chg="del">
          <ac:chgData name="Graf Thomas, INI-NET-VNC-HCS" userId="487bc3e3-9ce7-4cdd-b7b4-8899ea88d289" providerId="ADAL" clId="{E3161F74-B0AA-40DC-ADA6-35AF10BC3613}" dt="2024-07-14T07:38:11.866" v="980" actId="478"/>
          <ac:spMkLst>
            <pc:docMk/>
            <pc:sldMk cId="1587501498" sldId="2145706287"/>
            <ac:spMk id="10" creationId="{71CF02A3-82A0-40D0-9B64-6B9FC20586A6}"/>
          </ac:spMkLst>
        </pc:spChg>
        <pc:spChg chg="del">
          <ac:chgData name="Graf Thomas, INI-NET-VNC-HCS" userId="487bc3e3-9ce7-4cdd-b7b4-8899ea88d289" providerId="ADAL" clId="{E3161F74-B0AA-40DC-ADA6-35AF10BC3613}" dt="2024-07-14T07:38:11.866" v="980" actId="478"/>
          <ac:spMkLst>
            <pc:docMk/>
            <pc:sldMk cId="1587501498" sldId="2145706287"/>
            <ac:spMk id="11" creationId="{0CFA25E0-D5B0-91D3-117C-26055F6E5CC6}"/>
          </ac:spMkLst>
        </pc:spChg>
        <pc:spChg chg="del">
          <ac:chgData name="Graf Thomas, INI-NET-VNC-HCS" userId="487bc3e3-9ce7-4cdd-b7b4-8899ea88d289" providerId="ADAL" clId="{E3161F74-B0AA-40DC-ADA6-35AF10BC3613}" dt="2024-07-14T07:38:11.866" v="980" actId="478"/>
          <ac:spMkLst>
            <pc:docMk/>
            <pc:sldMk cId="1587501498" sldId="2145706287"/>
            <ac:spMk id="15" creationId="{987BEEEE-087C-C4CD-2079-D081718361C6}"/>
          </ac:spMkLst>
        </pc:spChg>
        <pc:spChg chg="add mod">
          <ac:chgData name="Graf Thomas, INI-NET-VNC-HCS" userId="487bc3e3-9ce7-4cdd-b7b4-8899ea88d289" providerId="ADAL" clId="{E3161F74-B0AA-40DC-ADA6-35AF10BC3613}" dt="2024-07-14T07:39:21.367" v="1057" actId="1036"/>
          <ac:spMkLst>
            <pc:docMk/>
            <pc:sldMk cId="1587501498" sldId="2145706287"/>
            <ac:spMk id="16" creationId="{AB4CF674-59EF-DF02-1DAC-2E35F9D9BA83}"/>
          </ac:spMkLst>
        </pc:spChg>
        <pc:spChg chg="add mod">
          <ac:chgData name="Graf Thomas, INI-NET-VNC-HCS" userId="487bc3e3-9ce7-4cdd-b7b4-8899ea88d289" providerId="ADAL" clId="{E3161F74-B0AA-40DC-ADA6-35AF10BC3613}" dt="2024-07-14T07:39:21.367" v="1057" actId="1036"/>
          <ac:spMkLst>
            <pc:docMk/>
            <pc:sldMk cId="1587501498" sldId="2145706287"/>
            <ac:spMk id="18" creationId="{556EC099-FD21-AE64-3C6C-987C8F12E609}"/>
          </ac:spMkLst>
        </pc:spChg>
        <pc:spChg chg="mod">
          <ac:chgData name="Graf Thomas, INI-NET-VNC-HCS" userId="487bc3e3-9ce7-4cdd-b7b4-8899ea88d289" providerId="ADAL" clId="{E3161F74-B0AA-40DC-ADA6-35AF10BC3613}" dt="2024-07-14T07:39:07.275" v="1049" actId="20577"/>
          <ac:spMkLst>
            <pc:docMk/>
            <pc:sldMk cId="1587501498" sldId="2145706287"/>
            <ac:spMk id="48" creationId="{A48B1DB7-BCDC-5D18-F56D-8A1447F1B8BA}"/>
          </ac:spMkLst>
        </pc:spChg>
        <pc:picChg chg="del">
          <ac:chgData name="Graf Thomas, INI-NET-VNC-HCS" userId="487bc3e3-9ce7-4cdd-b7b4-8899ea88d289" providerId="ADAL" clId="{E3161F74-B0AA-40DC-ADA6-35AF10BC3613}" dt="2024-07-14T07:38:11.866" v="980" actId="478"/>
          <ac:picMkLst>
            <pc:docMk/>
            <pc:sldMk cId="1587501498" sldId="2145706287"/>
            <ac:picMk id="2" creationId="{A5C13DB2-576A-627A-2CF0-E34E57ACD645}"/>
          </ac:picMkLst>
        </pc:picChg>
        <pc:picChg chg="del">
          <ac:chgData name="Graf Thomas, INI-NET-VNC-HCS" userId="487bc3e3-9ce7-4cdd-b7b4-8899ea88d289" providerId="ADAL" clId="{E3161F74-B0AA-40DC-ADA6-35AF10BC3613}" dt="2024-07-14T07:38:15.806" v="981" actId="478"/>
          <ac:picMkLst>
            <pc:docMk/>
            <pc:sldMk cId="1587501498" sldId="2145706287"/>
            <ac:picMk id="4" creationId="{5AF1EF20-85A6-C0BB-1636-29832B2C67BB}"/>
          </ac:picMkLst>
        </pc:picChg>
        <pc:picChg chg="del">
          <ac:chgData name="Graf Thomas, INI-NET-VNC-HCS" userId="487bc3e3-9ce7-4cdd-b7b4-8899ea88d289" providerId="ADAL" clId="{E3161F74-B0AA-40DC-ADA6-35AF10BC3613}" dt="2024-07-14T07:38:15.806" v="981" actId="478"/>
          <ac:picMkLst>
            <pc:docMk/>
            <pc:sldMk cId="1587501498" sldId="2145706287"/>
            <ac:picMk id="8" creationId="{8D19947A-144F-1D80-B0F3-67F6872163F8}"/>
          </ac:picMkLst>
        </pc:picChg>
        <pc:picChg chg="del">
          <ac:chgData name="Graf Thomas, INI-NET-VNC-HCS" userId="487bc3e3-9ce7-4cdd-b7b4-8899ea88d289" providerId="ADAL" clId="{E3161F74-B0AA-40DC-ADA6-35AF10BC3613}" dt="2024-07-14T07:38:15.806" v="981" actId="478"/>
          <ac:picMkLst>
            <pc:docMk/>
            <pc:sldMk cId="1587501498" sldId="2145706287"/>
            <ac:picMk id="12" creationId="{6F2C0F71-B41B-ECC1-F60C-F8D3A587CFA6}"/>
          </ac:picMkLst>
        </pc:picChg>
        <pc:picChg chg="del">
          <ac:chgData name="Graf Thomas, INI-NET-VNC-HCS" userId="487bc3e3-9ce7-4cdd-b7b4-8899ea88d289" providerId="ADAL" clId="{E3161F74-B0AA-40DC-ADA6-35AF10BC3613}" dt="2024-07-14T07:38:15.806" v="981" actId="478"/>
          <ac:picMkLst>
            <pc:docMk/>
            <pc:sldMk cId="1587501498" sldId="2145706287"/>
            <ac:picMk id="14" creationId="{0CCB84FC-46E4-E41C-DF7F-CC97564CE789}"/>
          </ac:picMkLst>
        </pc:picChg>
        <pc:picChg chg="add mod">
          <ac:chgData name="Graf Thomas, INI-NET-VNC-HCS" userId="487bc3e3-9ce7-4cdd-b7b4-8899ea88d289" providerId="ADAL" clId="{E3161F74-B0AA-40DC-ADA6-35AF10BC3613}" dt="2024-07-14T07:39:21.367" v="1057" actId="1036"/>
          <ac:picMkLst>
            <pc:docMk/>
            <pc:sldMk cId="1587501498" sldId="2145706287"/>
            <ac:picMk id="17" creationId="{2DFFE5F3-98A9-B901-A816-EFFEF14A5B7E}"/>
          </ac:picMkLst>
        </pc:picChg>
        <pc:cxnChg chg="del">
          <ac:chgData name="Graf Thomas, INI-NET-VNC-HCS" userId="487bc3e3-9ce7-4cdd-b7b4-8899ea88d289" providerId="ADAL" clId="{E3161F74-B0AA-40DC-ADA6-35AF10BC3613}" dt="2024-07-14T07:38:15.806" v="981" actId="478"/>
          <ac:cxnSpMkLst>
            <pc:docMk/>
            <pc:sldMk cId="1587501498" sldId="2145706287"/>
            <ac:cxnSpMk id="7" creationId="{5B3D2B6C-895B-B128-3B64-BE465DF3780C}"/>
          </ac:cxnSpMkLst>
        </pc:cxnChg>
        <pc:cxnChg chg="del">
          <ac:chgData name="Graf Thomas, INI-NET-VNC-HCS" userId="487bc3e3-9ce7-4cdd-b7b4-8899ea88d289" providerId="ADAL" clId="{E3161F74-B0AA-40DC-ADA6-35AF10BC3613}" dt="2024-07-14T07:38:15.806" v="981" actId="478"/>
          <ac:cxnSpMkLst>
            <pc:docMk/>
            <pc:sldMk cId="1587501498" sldId="2145706287"/>
            <ac:cxnSpMk id="13" creationId="{9454752F-262C-79E4-AA8B-1ED9C821AA0C}"/>
          </ac:cxnSpMkLst>
        </pc:cxnChg>
      </pc:sldChg>
      <pc:sldChg chg="addSp delSp modSp add mod">
        <pc:chgData name="Graf Thomas, INI-NET-VNC-HCS" userId="487bc3e3-9ce7-4cdd-b7b4-8899ea88d289" providerId="ADAL" clId="{E3161F74-B0AA-40DC-ADA6-35AF10BC3613}" dt="2024-07-14T08:01:32.901" v="1657" actId="20577"/>
        <pc:sldMkLst>
          <pc:docMk/>
          <pc:sldMk cId="2006087439" sldId="2145706288"/>
        </pc:sldMkLst>
        <pc:spChg chg="add mod">
          <ac:chgData name="Graf Thomas, INI-NET-VNC-HCS" userId="487bc3e3-9ce7-4cdd-b7b4-8899ea88d289" providerId="ADAL" clId="{E3161F74-B0AA-40DC-ADA6-35AF10BC3613}" dt="2024-07-14T07:45:07.572" v="1186" actId="1076"/>
          <ac:spMkLst>
            <pc:docMk/>
            <pc:sldMk cId="2006087439" sldId="2145706288"/>
            <ac:spMk id="2" creationId="{9D61CFC8-455E-F3AD-F115-C08399D2FB3F}"/>
          </ac:spMkLst>
        </pc:spChg>
        <pc:spChg chg="add mod">
          <ac:chgData name="Graf Thomas, INI-NET-VNC-HCS" userId="487bc3e3-9ce7-4cdd-b7b4-8899ea88d289" providerId="ADAL" clId="{E3161F74-B0AA-40DC-ADA6-35AF10BC3613}" dt="2024-07-14T07:40:26.226" v="1063" actId="255"/>
          <ac:spMkLst>
            <pc:docMk/>
            <pc:sldMk cId="2006087439" sldId="2145706288"/>
            <ac:spMk id="3" creationId="{5C6F98D3-4061-4B0E-40E9-0238CE8D501C}"/>
          </ac:spMkLst>
        </pc:spChg>
        <pc:spChg chg="del">
          <ac:chgData name="Graf Thomas, INI-NET-VNC-HCS" userId="487bc3e3-9ce7-4cdd-b7b4-8899ea88d289" providerId="ADAL" clId="{E3161F74-B0AA-40DC-ADA6-35AF10BC3613}" dt="2024-07-14T07:39:54.998" v="1060" actId="478"/>
          <ac:spMkLst>
            <pc:docMk/>
            <pc:sldMk cId="2006087439" sldId="2145706288"/>
            <ac:spMk id="5" creationId="{C6613F22-6DD1-56DE-935E-2C90E8C8CC57}"/>
          </ac:spMkLst>
        </pc:spChg>
        <pc:spChg chg="add mod">
          <ac:chgData name="Graf Thomas, INI-NET-VNC-HCS" userId="487bc3e3-9ce7-4cdd-b7b4-8899ea88d289" providerId="ADAL" clId="{E3161F74-B0AA-40DC-ADA6-35AF10BC3613}" dt="2024-07-14T07:40:12.615" v="1062" actId="1076"/>
          <ac:spMkLst>
            <pc:docMk/>
            <pc:sldMk cId="2006087439" sldId="2145706288"/>
            <ac:spMk id="7" creationId="{DF19F707-B2A2-2A16-6A03-E73BE59795EE}"/>
          </ac:spMkLst>
        </pc:spChg>
        <pc:spChg chg="del">
          <ac:chgData name="Graf Thomas, INI-NET-VNC-HCS" userId="487bc3e3-9ce7-4cdd-b7b4-8899ea88d289" providerId="ADAL" clId="{E3161F74-B0AA-40DC-ADA6-35AF10BC3613}" dt="2024-07-14T07:39:54.998" v="1060" actId="478"/>
          <ac:spMkLst>
            <pc:docMk/>
            <pc:sldMk cId="2006087439" sldId="2145706288"/>
            <ac:spMk id="16" creationId="{AB4CF674-59EF-DF02-1DAC-2E35F9D9BA83}"/>
          </ac:spMkLst>
        </pc:spChg>
        <pc:spChg chg="del">
          <ac:chgData name="Graf Thomas, INI-NET-VNC-HCS" userId="487bc3e3-9ce7-4cdd-b7b4-8899ea88d289" providerId="ADAL" clId="{E3161F74-B0AA-40DC-ADA6-35AF10BC3613}" dt="2024-07-14T07:39:54.998" v="1060" actId="478"/>
          <ac:spMkLst>
            <pc:docMk/>
            <pc:sldMk cId="2006087439" sldId="2145706288"/>
            <ac:spMk id="18" creationId="{556EC099-FD21-AE64-3C6C-987C8F12E609}"/>
          </ac:spMkLst>
        </pc:spChg>
        <pc:spChg chg="mod">
          <ac:chgData name="Graf Thomas, INI-NET-VNC-HCS" userId="487bc3e3-9ce7-4cdd-b7b4-8899ea88d289" providerId="ADAL" clId="{E3161F74-B0AA-40DC-ADA6-35AF10BC3613}" dt="2024-07-14T08:01:32.901" v="1657" actId="20577"/>
          <ac:spMkLst>
            <pc:docMk/>
            <pc:sldMk cId="2006087439" sldId="2145706288"/>
            <ac:spMk id="48" creationId="{A48B1DB7-BCDC-5D18-F56D-8A1447F1B8BA}"/>
          </ac:spMkLst>
        </pc:spChg>
        <pc:picChg chg="add del mod">
          <ac:chgData name="Graf Thomas, INI-NET-VNC-HCS" userId="487bc3e3-9ce7-4cdd-b7b4-8899ea88d289" providerId="ADAL" clId="{E3161F74-B0AA-40DC-ADA6-35AF10BC3613}" dt="2024-07-14T07:45:24.004" v="1189" actId="478"/>
          <ac:picMkLst>
            <pc:docMk/>
            <pc:sldMk cId="2006087439" sldId="2145706288"/>
            <ac:picMk id="4" creationId="{88CC0EE4-B638-3C18-CC5C-48BC53AC5606}"/>
          </ac:picMkLst>
        </pc:picChg>
        <pc:picChg chg="add mod">
          <ac:chgData name="Graf Thomas, INI-NET-VNC-HCS" userId="487bc3e3-9ce7-4cdd-b7b4-8899ea88d289" providerId="ADAL" clId="{E3161F74-B0AA-40DC-ADA6-35AF10BC3613}" dt="2024-07-14T07:45:24.396" v="1190"/>
          <ac:picMkLst>
            <pc:docMk/>
            <pc:sldMk cId="2006087439" sldId="2145706288"/>
            <ac:picMk id="8" creationId="{8A7921E7-2525-34FB-6841-B5F01DECFEB7}"/>
          </ac:picMkLst>
        </pc:picChg>
        <pc:picChg chg="del">
          <ac:chgData name="Graf Thomas, INI-NET-VNC-HCS" userId="487bc3e3-9ce7-4cdd-b7b4-8899ea88d289" providerId="ADAL" clId="{E3161F74-B0AA-40DC-ADA6-35AF10BC3613}" dt="2024-07-14T07:39:54.998" v="1060" actId="478"/>
          <ac:picMkLst>
            <pc:docMk/>
            <pc:sldMk cId="2006087439" sldId="2145706288"/>
            <ac:picMk id="17" creationId="{2DFFE5F3-98A9-B901-A816-EFFEF14A5B7E}"/>
          </ac:picMkLst>
        </pc:picChg>
      </pc:sldChg>
      <pc:sldChg chg="addSp delSp modSp add mod">
        <pc:chgData name="Graf Thomas, INI-NET-VNC-HCS" userId="487bc3e3-9ce7-4cdd-b7b4-8899ea88d289" providerId="ADAL" clId="{E3161F74-B0AA-40DC-ADA6-35AF10BC3613}" dt="2024-07-14T07:58:32.790" v="1619" actId="20577"/>
        <pc:sldMkLst>
          <pc:docMk/>
          <pc:sldMk cId="1265367659" sldId="2145706289"/>
        </pc:sldMkLst>
        <pc:spChg chg="del">
          <ac:chgData name="Graf Thomas, INI-NET-VNC-HCS" userId="487bc3e3-9ce7-4cdd-b7b4-8899ea88d289" providerId="ADAL" clId="{E3161F74-B0AA-40DC-ADA6-35AF10BC3613}" dt="2024-07-14T07:43:02.490" v="1153" actId="478"/>
          <ac:spMkLst>
            <pc:docMk/>
            <pc:sldMk cId="1265367659" sldId="2145706289"/>
            <ac:spMk id="2" creationId="{9D61CFC8-455E-F3AD-F115-C08399D2FB3F}"/>
          </ac:spMkLst>
        </pc:spChg>
        <pc:spChg chg="del">
          <ac:chgData name="Graf Thomas, INI-NET-VNC-HCS" userId="487bc3e3-9ce7-4cdd-b7b4-8899ea88d289" providerId="ADAL" clId="{E3161F74-B0AA-40DC-ADA6-35AF10BC3613}" dt="2024-07-14T07:42:59.857" v="1152" actId="478"/>
          <ac:spMkLst>
            <pc:docMk/>
            <pc:sldMk cId="1265367659" sldId="2145706289"/>
            <ac:spMk id="3" creationId="{5C6F98D3-4061-4B0E-40E9-0238CE8D501C}"/>
          </ac:spMkLst>
        </pc:spChg>
        <pc:spChg chg="add mod">
          <ac:chgData name="Graf Thomas, INI-NET-VNC-HCS" userId="487bc3e3-9ce7-4cdd-b7b4-8899ea88d289" providerId="ADAL" clId="{E3161F74-B0AA-40DC-ADA6-35AF10BC3613}" dt="2024-07-14T07:56:18.788" v="1579" actId="20577"/>
          <ac:spMkLst>
            <pc:docMk/>
            <pc:sldMk cId="1265367659" sldId="2145706289"/>
            <ac:spMk id="5" creationId="{477E3269-AE0B-75EF-0438-609ED261D5F5}"/>
          </ac:spMkLst>
        </pc:spChg>
        <pc:spChg chg="del">
          <ac:chgData name="Graf Thomas, INI-NET-VNC-HCS" userId="487bc3e3-9ce7-4cdd-b7b4-8899ea88d289" providerId="ADAL" clId="{E3161F74-B0AA-40DC-ADA6-35AF10BC3613}" dt="2024-07-14T07:42:59.857" v="1152" actId="478"/>
          <ac:spMkLst>
            <pc:docMk/>
            <pc:sldMk cId="1265367659" sldId="2145706289"/>
            <ac:spMk id="7" creationId="{DF19F707-B2A2-2A16-6A03-E73BE59795EE}"/>
          </ac:spMkLst>
        </pc:spChg>
        <pc:spChg chg="add mod">
          <ac:chgData name="Graf Thomas, INI-NET-VNC-HCS" userId="487bc3e3-9ce7-4cdd-b7b4-8899ea88d289" providerId="ADAL" clId="{E3161F74-B0AA-40DC-ADA6-35AF10BC3613}" dt="2024-07-14T07:58:05.980" v="1600" actId="1076"/>
          <ac:spMkLst>
            <pc:docMk/>
            <pc:sldMk cId="1265367659" sldId="2145706289"/>
            <ac:spMk id="10" creationId="{D5BF30A0-2EDE-D753-5071-EAC623851B2A}"/>
          </ac:spMkLst>
        </pc:spChg>
        <pc:spChg chg="add mod">
          <ac:chgData name="Graf Thomas, INI-NET-VNC-HCS" userId="487bc3e3-9ce7-4cdd-b7b4-8899ea88d289" providerId="ADAL" clId="{E3161F74-B0AA-40DC-ADA6-35AF10BC3613}" dt="2024-07-14T07:57:57.540" v="1599" actId="14100"/>
          <ac:spMkLst>
            <pc:docMk/>
            <pc:sldMk cId="1265367659" sldId="2145706289"/>
            <ac:spMk id="13" creationId="{BB63D1CC-F8AF-E563-C0E8-E96F4B90A8F1}"/>
          </ac:spMkLst>
        </pc:spChg>
        <pc:spChg chg="mod">
          <ac:chgData name="Graf Thomas, INI-NET-VNC-HCS" userId="487bc3e3-9ce7-4cdd-b7b4-8899ea88d289" providerId="ADAL" clId="{E3161F74-B0AA-40DC-ADA6-35AF10BC3613}" dt="2024-07-14T07:58:32.790" v="1619" actId="20577"/>
          <ac:spMkLst>
            <pc:docMk/>
            <pc:sldMk cId="1265367659" sldId="2145706289"/>
            <ac:spMk id="48" creationId="{A48B1DB7-BCDC-5D18-F56D-8A1447F1B8BA}"/>
          </ac:spMkLst>
        </pc:spChg>
        <pc:picChg chg="del">
          <ac:chgData name="Graf Thomas, INI-NET-VNC-HCS" userId="487bc3e3-9ce7-4cdd-b7b4-8899ea88d289" providerId="ADAL" clId="{E3161F74-B0AA-40DC-ADA6-35AF10BC3613}" dt="2024-07-14T07:43:02.490" v="1153" actId="478"/>
          <ac:picMkLst>
            <pc:docMk/>
            <pc:sldMk cId="1265367659" sldId="2145706289"/>
            <ac:picMk id="4" creationId="{88CC0EE4-B638-3C18-CC5C-48BC53AC5606}"/>
          </ac:picMkLst>
        </pc:picChg>
        <pc:picChg chg="add mod">
          <ac:chgData name="Graf Thomas, INI-NET-VNC-HCS" userId="487bc3e3-9ce7-4cdd-b7b4-8899ea88d289" providerId="ADAL" clId="{E3161F74-B0AA-40DC-ADA6-35AF10BC3613}" dt="2024-07-14T07:44:28.465" v="1180" actId="1076"/>
          <ac:picMkLst>
            <pc:docMk/>
            <pc:sldMk cId="1265367659" sldId="2145706289"/>
            <ac:picMk id="8" creationId="{54154485-B928-B492-B0BF-0F2B48285B49}"/>
          </ac:picMkLst>
        </pc:picChg>
        <pc:picChg chg="add mod">
          <ac:chgData name="Graf Thomas, INI-NET-VNC-HCS" userId="487bc3e3-9ce7-4cdd-b7b4-8899ea88d289" providerId="ADAL" clId="{E3161F74-B0AA-40DC-ADA6-35AF10BC3613}" dt="2024-07-14T07:44:29.694" v="1181" actId="1076"/>
          <ac:picMkLst>
            <pc:docMk/>
            <pc:sldMk cId="1265367659" sldId="2145706289"/>
            <ac:picMk id="9" creationId="{2B0ED05A-090F-1833-44DF-BB03C2D98034}"/>
          </ac:picMkLst>
        </pc:picChg>
        <pc:picChg chg="add mod">
          <ac:chgData name="Graf Thomas, INI-NET-VNC-HCS" userId="487bc3e3-9ce7-4cdd-b7b4-8899ea88d289" providerId="ADAL" clId="{E3161F74-B0AA-40DC-ADA6-35AF10BC3613}" dt="2024-07-14T07:44:26.068" v="1179" actId="1076"/>
          <ac:picMkLst>
            <pc:docMk/>
            <pc:sldMk cId="1265367659" sldId="2145706289"/>
            <ac:picMk id="11" creationId="{A016D5FB-2A70-8FB0-B62D-016BEC79DF4B}"/>
          </ac:picMkLst>
        </pc:picChg>
        <pc:picChg chg="add mod">
          <ac:chgData name="Graf Thomas, INI-NET-VNC-HCS" userId="487bc3e3-9ce7-4cdd-b7b4-8899ea88d289" providerId="ADAL" clId="{E3161F74-B0AA-40DC-ADA6-35AF10BC3613}" dt="2024-07-14T07:58:05.980" v="1600" actId="1076"/>
          <ac:picMkLst>
            <pc:docMk/>
            <pc:sldMk cId="1265367659" sldId="2145706289"/>
            <ac:picMk id="12" creationId="{53FBDF35-349F-4A69-857C-9D3F5A1A82DE}"/>
          </ac:picMkLst>
        </pc:picChg>
        <pc:picChg chg="add mod">
          <ac:chgData name="Graf Thomas, INI-NET-VNC-HCS" userId="487bc3e3-9ce7-4cdd-b7b4-8899ea88d289" providerId="ADAL" clId="{E3161F74-B0AA-40DC-ADA6-35AF10BC3613}" dt="2024-07-14T07:57:54.766" v="1598" actId="1076"/>
          <ac:picMkLst>
            <pc:docMk/>
            <pc:sldMk cId="1265367659" sldId="2145706289"/>
            <ac:picMk id="14" creationId="{BD2E6EE8-E200-90CF-5E2F-040788DDDF24}"/>
          </ac:picMkLst>
        </pc:picChg>
      </pc:sldChg>
      <pc:sldChg chg="addSp delSp modSp add del mod">
        <pc:chgData name="Graf Thomas, INI-NET-VNC-HCS" userId="487bc3e3-9ce7-4cdd-b7b4-8899ea88d289" providerId="ADAL" clId="{E3161F74-B0AA-40DC-ADA6-35AF10BC3613}" dt="2024-07-14T07:58:07.858" v="1601" actId="47"/>
        <pc:sldMkLst>
          <pc:docMk/>
          <pc:sldMk cId="1748831945" sldId="2145706290"/>
        </pc:sldMkLst>
        <pc:spChg chg="add mod">
          <ac:chgData name="Graf Thomas, INI-NET-VNC-HCS" userId="487bc3e3-9ce7-4cdd-b7b4-8899ea88d289" providerId="ADAL" clId="{E3161F74-B0AA-40DC-ADA6-35AF10BC3613}" dt="2024-07-14T07:47:08.185" v="1276" actId="1076"/>
          <ac:spMkLst>
            <pc:docMk/>
            <pc:sldMk cId="1748831945" sldId="2145706290"/>
            <ac:spMk id="2" creationId="{9FA702A3-8518-A717-191D-7D623BAEBED3}"/>
          </ac:spMkLst>
        </pc:spChg>
        <pc:spChg chg="add mod">
          <ac:chgData name="Graf Thomas, INI-NET-VNC-HCS" userId="487bc3e3-9ce7-4cdd-b7b4-8899ea88d289" providerId="ADAL" clId="{E3161F74-B0AA-40DC-ADA6-35AF10BC3613}" dt="2024-07-14T07:56:53.493" v="1581" actId="20577"/>
          <ac:spMkLst>
            <pc:docMk/>
            <pc:sldMk cId="1748831945" sldId="2145706290"/>
            <ac:spMk id="4" creationId="{EC752D94-E12C-312B-9BC1-608CE54EF71C}"/>
          </ac:spMkLst>
        </pc:spChg>
        <pc:spChg chg="del">
          <ac:chgData name="Graf Thomas, INI-NET-VNC-HCS" userId="487bc3e3-9ce7-4cdd-b7b4-8899ea88d289" providerId="ADAL" clId="{E3161F74-B0AA-40DC-ADA6-35AF10BC3613}" dt="2024-07-14T07:46:33.656" v="1237" actId="478"/>
          <ac:spMkLst>
            <pc:docMk/>
            <pc:sldMk cId="1748831945" sldId="2145706290"/>
            <ac:spMk id="5" creationId="{477E3269-AE0B-75EF-0438-609ED261D5F5}"/>
          </ac:spMkLst>
        </pc:spChg>
        <pc:spChg chg="del">
          <ac:chgData name="Graf Thomas, INI-NET-VNC-HCS" userId="487bc3e3-9ce7-4cdd-b7b4-8899ea88d289" providerId="ADAL" clId="{E3161F74-B0AA-40DC-ADA6-35AF10BC3613}" dt="2024-07-14T07:46:30.673" v="1236" actId="478"/>
          <ac:spMkLst>
            <pc:docMk/>
            <pc:sldMk cId="1748831945" sldId="2145706290"/>
            <ac:spMk id="10" creationId="{D5BF30A0-2EDE-D753-5071-EAC623851B2A}"/>
          </ac:spMkLst>
        </pc:spChg>
        <pc:spChg chg="mod">
          <ac:chgData name="Graf Thomas, INI-NET-VNC-HCS" userId="487bc3e3-9ce7-4cdd-b7b4-8899ea88d289" providerId="ADAL" clId="{E3161F74-B0AA-40DC-ADA6-35AF10BC3613}" dt="2024-07-14T07:48:44.673" v="1335" actId="20577"/>
          <ac:spMkLst>
            <pc:docMk/>
            <pc:sldMk cId="1748831945" sldId="2145706290"/>
            <ac:spMk id="48" creationId="{A48B1DB7-BCDC-5D18-F56D-8A1447F1B8BA}"/>
          </ac:spMkLst>
        </pc:spChg>
        <pc:picChg chg="add mod">
          <ac:chgData name="Graf Thomas, INI-NET-VNC-HCS" userId="487bc3e3-9ce7-4cdd-b7b4-8899ea88d289" providerId="ADAL" clId="{E3161F74-B0AA-40DC-ADA6-35AF10BC3613}" dt="2024-07-14T07:47:08.185" v="1276" actId="1076"/>
          <ac:picMkLst>
            <pc:docMk/>
            <pc:sldMk cId="1748831945" sldId="2145706290"/>
            <ac:picMk id="3" creationId="{63CB4813-A67A-3E27-9952-F919B3DA76B2}"/>
          </ac:picMkLst>
        </pc:picChg>
        <pc:picChg chg="add mod">
          <ac:chgData name="Graf Thomas, INI-NET-VNC-HCS" userId="487bc3e3-9ce7-4cdd-b7b4-8899ea88d289" providerId="ADAL" clId="{E3161F74-B0AA-40DC-ADA6-35AF10BC3613}" dt="2024-07-14T07:48:08.082" v="1280" actId="1076"/>
          <ac:picMkLst>
            <pc:docMk/>
            <pc:sldMk cId="1748831945" sldId="2145706290"/>
            <ac:picMk id="7" creationId="{12B96E1F-D705-5FC0-450E-3620E4FEBB77}"/>
          </ac:picMkLst>
        </pc:picChg>
        <pc:picChg chg="del">
          <ac:chgData name="Graf Thomas, INI-NET-VNC-HCS" userId="487bc3e3-9ce7-4cdd-b7b4-8899ea88d289" providerId="ADAL" clId="{E3161F74-B0AA-40DC-ADA6-35AF10BC3613}" dt="2024-07-14T07:46:33.656" v="1237" actId="478"/>
          <ac:picMkLst>
            <pc:docMk/>
            <pc:sldMk cId="1748831945" sldId="2145706290"/>
            <ac:picMk id="8" creationId="{54154485-B928-B492-B0BF-0F2B48285B49}"/>
          </ac:picMkLst>
        </pc:picChg>
        <pc:picChg chg="del">
          <ac:chgData name="Graf Thomas, INI-NET-VNC-HCS" userId="487bc3e3-9ce7-4cdd-b7b4-8899ea88d289" providerId="ADAL" clId="{E3161F74-B0AA-40DC-ADA6-35AF10BC3613}" dt="2024-07-14T07:46:33.656" v="1237" actId="478"/>
          <ac:picMkLst>
            <pc:docMk/>
            <pc:sldMk cId="1748831945" sldId="2145706290"/>
            <ac:picMk id="9" creationId="{2B0ED05A-090F-1833-44DF-BB03C2D98034}"/>
          </ac:picMkLst>
        </pc:picChg>
        <pc:picChg chg="del">
          <ac:chgData name="Graf Thomas, INI-NET-VNC-HCS" userId="487bc3e3-9ce7-4cdd-b7b4-8899ea88d289" providerId="ADAL" clId="{E3161F74-B0AA-40DC-ADA6-35AF10BC3613}" dt="2024-07-14T07:46:33.656" v="1237" actId="478"/>
          <ac:picMkLst>
            <pc:docMk/>
            <pc:sldMk cId="1748831945" sldId="2145706290"/>
            <ac:picMk id="11" creationId="{A016D5FB-2A70-8FB0-B62D-016BEC79DF4B}"/>
          </ac:picMkLst>
        </pc:picChg>
        <pc:picChg chg="del">
          <ac:chgData name="Graf Thomas, INI-NET-VNC-HCS" userId="487bc3e3-9ce7-4cdd-b7b4-8899ea88d289" providerId="ADAL" clId="{E3161F74-B0AA-40DC-ADA6-35AF10BC3613}" dt="2024-07-14T07:46:30.673" v="1236" actId="478"/>
          <ac:picMkLst>
            <pc:docMk/>
            <pc:sldMk cId="1748831945" sldId="2145706290"/>
            <ac:picMk id="12" creationId="{53FBDF35-349F-4A69-857C-9D3F5A1A82DE}"/>
          </ac:picMkLst>
        </pc:picChg>
        <pc:picChg chg="add mod">
          <ac:chgData name="Graf Thomas, INI-NET-VNC-HCS" userId="487bc3e3-9ce7-4cdd-b7b4-8899ea88d289" providerId="ADAL" clId="{E3161F74-B0AA-40DC-ADA6-35AF10BC3613}" dt="2024-07-14T07:48:20.513" v="1282" actId="1076"/>
          <ac:picMkLst>
            <pc:docMk/>
            <pc:sldMk cId="1748831945" sldId="2145706290"/>
            <ac:picMk id="13" creationId="{1AA75656-8F22-C0C8-37FD-75C251944640}"/>
          </ac:picMkLst>
        </pc:picChg>
        <pc:picChg chg="add mod">
          <ac:chgData name="Graf Thomas, INI-NET-VNC-HCS" userId="487bc3e3-9ce7-4cdd-b7b4-8899ea88d289" providerId="ADAL" clId="{E3161F74-B0AA-40DC-ADA6-35AF10BC3613}" dt="2024-07-14T07:48:11.474" v="1281" actId="1076"/>
          <ac:picMkLst>
            <pc:docMk/>
            <pc:sldMk cId="1748831945" sldId="2145706290"/>
            <ac:picMk id="14" creationId="{34254934-04FD-BAED-1B10-986ECFCF2320}"/>
          </ac:picMkLst>
        </pc:picChg>
      </pc:sldChg>
      <pc:sldMasterChg chg="delSldLayout">
        <pc:chgData name="Graf Thomas, INI-NET-VNC-HCS" userId="487bc3e3-9ce7-4cdd-b7b4-8899ea88d289" providerId="ADAL" clId="{E3161F74-B0AA-40DC-ADA6-35AF10BC3613}" dt="2024-07-14T07:28:16.212" v="691" actId="47"/>
        <pc:sldMasterMkLst>
          <pc:docMk/>
          <pc:sldMasterMk cId="1575956613" sldId="2147483648"/>
        </pc:sldMasterMkLst>
        <pc:sldLayoutChg chg="del">
          <pc:chgData name="Graf Thomas, INI-NET-VNC-HCS" userId="487bc3e3-9ce7-4cdd-b7b4-8899ea88d289" providerId="ADAL" clId="{E3161F74-B0AA-40DC-ADA6-35AF10BC3613}" dt="2024-07-14T07:28:16.212" v="691" actId="47"/>
          <pc:sldLayoutMkLst>
            <pc:docMk/>
            <pc:sldMasterMk cId="1575956613" sldId="2147483648"/>
            <pc:sldLayoutMk cId="1134800388" sldId="2147483662"/>
          </pc:sldLayoutMkLst>
        </pc:sldLayoutChg>
        <pc:sldLayoutChg chg="del">
          <pc:chgData name="Graf Thomas, INI-NET-VNC-HCS" userId="487bc3e3-9ce7-4cdd-b7b4-8899ea88d289" providerId="ADAL" clId="{E3161F74-B0AA-40DC-ADA6-35AF10BC3613}" dt="2024-07-14T07:28:16.212" v="691" actId="47"/>
          <pc:sldLayoutMkLst>
            <pc:docMk/>
            <pc:sldMasterMk cId="1575956613" sldId="2147483648"/>
            <pc:sldLayoutMk cId="34337616" sldId="2147483663"/>
          </pc:sldLayoutMkLst>
        </pc:sldLayoutChg>
      </pc:sldMasterChg>
      <pc:sldMasterChg chg="del delSldLayout">
        <pc:chgData name="Graf Thomas, INI-NET-VNC-HCS" userId="487bc3e3-9ce7-4cdd-b7b4-8899ea88d289" providerId="ADAL" clId="{E3161F74-B0AA-40DC-ADA6-35AF10BC3613}" dt="2024-07-14T07:54:55.461" v="1524" actId="47"/>
        <pc:sldMasterMkLst>
          <pc:docMk/>
          <pc:sldMasterMk cId="2545086823" sldId="2147483662"/>
        </pc:sldMasterMkLst>
        <pc:sldLayoutChg chg="del">
          <pc:chgData name="Graf Thomas, INI-NET-VNC-HCS" userId="487bc3e3-9ce7-4cdd-b7b4-8899ea88d289" providerId="ADAL" clId="{E3161F74-B0AA-40DC-ADA6-35AF10BC3613}" dt="2024-07-14T07:54:55.461" v="1524" actId="47"/>
          <pc:sldLayoutMkLst>
            <pc:docMk/>
            <pc:sldMasterMk cId="2545086823" sldId="2147483662"/>
            <pc:sldLayoutMk cId="3183092593" sldId="214748366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431865408" sldId="214748366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2152914" sldId="214748366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938781674" sldId="214748366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9241615" sldId="214748366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147272679" sldId="214748366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9497090" sldId="214748366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4073284834" sldId="2147483670"/>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370275604" sldId="2147483671"/>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02351251" sldId="2147483672"/>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185650037" sldId="214748367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035918076" sldId="214748367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582357164" sldId="214748367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52445552" sldId="214748367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702470056" sldId="214748367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334645053" sldId="214748367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692442835" sldId="214748367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321864609" sldId="2147483680"/>
          </pc:sldLayoutMkLst>
        </pc:sldLayoutChg>
      </pc:sldMasterChg>
    </pc:docChg>
  </pc:docChgLst>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3T16:18:17.736" v="601"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3T16:11:15.469" v="599" actId="20577"/>
        <pc:sldMkLst>
          <pc:docMk/>
          <pc:sldMk cId="3578665336" sldId="1041"/>
        </pc:sldMkLst>
        <pc:spChg chg="mod">
          <ac:chgData name="Graf Thomas, INI-NET-VNC-HCS" userId="487bc3e3-9ce7-4cdd-b7b4-8899ea88d289" providerId="ADAL" clId="{D5F81756-EA00-4B65-9234-A0FB2F3D032D}" dt="2024-07-13T16:11:15.469" v="599"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8:17.736" v="601"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4.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6</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7</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8</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4</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25</a:t>
            </a:fld>
            <a:endParaRPr lang="de-CH"/>
          </a:p>
        </p:txBody>
      </p:sp>
    </p:spTree>
    <p:extLst>
      <p:ext uri="{BB962C8B-B14F-4D97-AF65-F5344CB8AC3E}">
        <p14:creationId xmlns:p14="http://schemas.microsoft.com/office/powerpoint/2010/main" val="899548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6</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9</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1</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34.sv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4.sv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38.png"/><Relationship Id="rId4" Type="http://schemas.openxmlformats.org/officeDocument/2006/relationships/image" Target="../media/image32.svg"/><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9.png"/><Relationship Id="rId7" Type="http://schemas.openxmlformats.org/officeDocument/2006/relationships/image" Target="../media/image41.sv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30.svg"/><Relationship Id="rId5" Type="http://schemas.openxmlformats.org/officeDocument/2006/relationships/image" Target="../media/image32.svg"/><Relationship Id="rId10" Type="http://schemas.openxmlformats.org/officeDocument/2006/relationships/image" Target="../media/image29.png"/><Relationship Id="rId4" Type="http://schemas.openxmlformats.org/officeDocument/2006/relationships/image" Target="../media/image31.png"/><Relationship Id="rId9" Type="http://schemas.openxmlformats.org/officeDocument/2006/relationships/image" Target="../media/image34.svg"/></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32.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24.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22.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1.png"/><Relationship Id="rId5" Type="http://schemas.openxmlformats.org/officeDocument/2006/relationships/image" Target="../media/image20.svg"/><Relationship Id="rId10" Type="http://schemas.openxmlformats.org/officeDocument/2006/relationships/image" Target="../media/image8.png"/><Relationship Id="rId4" Type="http://schemas.openxmlformats.org/officeDocument/2006/relationships/image" Target="../media/image19.png"/><Relationship Id="rId9"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endParaRPr lang="de-CH" sz="1400" dirty="0">
              <a:latin typeface="+mj-lt"/>
            </a:endParaRPr>
          </a:p>
          <a:p>
            <a:pPr marL="0" indent="0" algn="r">
              <a:spcBef>
                <a:spcPts val="300"/>
              </a:spcBef>
              <a:buNone/>
            </a:pPr>
            <a:r>
              <a:rPr lang="de-CH" sz="1400" dirty="0">
                <a:latin typeface="+mj-lt"/>
              </a:rPr>
              <a:t>14.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3</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21</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3</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6</a:t>
            </a:fld>
            <a:endParaRPr lang="de-CH"/>
          </a:p>
        </p:txBody>
      </p:sp>
    </p:spTree>
    <p:extLst>
      <p:ext uri="{BB962C8B-B14F-4D97-AF65-F5344CB8AC3E}">
        <p14:creationId xmlns:p14="http://schemas.microsoft.com/office/powerpoint/2010/main" val="670772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7</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8</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9</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operational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onitoring 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4553</Words>
  <Application>Microsoft Office PowerPoint</Application>
  <PresentationFormat>Widescreen</PresentationFormat>
  <Paragraphs>444</Paragraphs>
  <Slides>30</Slides>
  <Notes>2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0</vt:i4>
      </vt:variant>
    </vt:vector>
  </HeadingPairs>
  <TitlesOfParts>
    <vt:vector size="39"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operational metrics are collected</vt:lpstr>
      <vt:lpstr>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14T08:0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